
<file path=[Content_Types].xml><?xml version="1.0" encoding="utf-8"?>
<Types xmlns="http://schemas.openxmlformats.org/package/2006/content-types">
  <Override PartName="/ppt/slideMasters/slideMaster2.xml" ContentType="application/vnd.openxmlformats-officedocument.presentationml.slideMaster+xml"/>
  <Override PartName="/ppt/embeddings/oleObject1.bin" ContentType="application/vnd.openxmlformats-officedocument.oleObject"/>
  <Default Extension="xml" ContentType="application/xml"/>
  <Override PartName="/ppt/tableStyles.xml" ContentType="application/vnd.openxmlformats-officedocument.presentationml.tableStyles+xml"/>
  <Override PartName="/ppt/slideLayouts/slideLayout33.xml" ContentType="application/vnd.openxmlformats-officedocument.presentationml.slideLayout+xml"/>
  <Override PartName="/ppt/notesSlides/notesSlide1.xml" ContentType="application/vnd.openxmlformats-officedocument.presentationml.notesSlide+xml"/>
  <Override PartName="/ppt/slideLayouts/slideLayout16.xml" ContentType="application/vnd.openxmlformats-officedocument.presentationml.slideLayout+xml"/>
  <Override PartName="/ppt/slideLayouts/slideLayout42.xml" ContentType="application/vnd.openxmlformats-officedocument.presentationml.slideLayout+xml"/>
  <Override PartName="/ppt/slideLayouts/slideLayout25.xml" ContentType="application/vnd.openxmlformats-officedocument.presentationml.slideLayout+xml"/>
  <Override PartName="/ppt/slides/slide5.xml" ContentType="application/vnd.openxmlformats-officedocument.presentationml.slide+xml"/>
  <Override PartName="/ppt/tags/tag4.xml" ContentType="application/vnd.openxmlformats-officedocument.presentationml.tags+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Layouts/slideLayout39.xml" ContentType="application/vnd.openxmlformats-officedocument.presentationml.slideLayout+xml"/>
  <Override PartName="/docProps/core.xml" ContentType="application/vnd.openxmlformats-package.core-properties+xml"/>
  <Override PartName="/ppt/notesSlides/notesSlide7.xml" ContentType="application/vnd.openxmlformats-officedocument.presentationml.notesSlide+xml"/>
  <Override PartName="/ppt/slideLayouts/slideLayout32.xml" ContentType="application/vnd.openxmlformats-officedocument.presentationml.slideLayout+xml"/>
  <Override PartName="/ppt/slideLayouts/slideLayout15.xml" ContentType="application/vnd.openxmlformats-officedocument.presentationml.slideLayout+xml"/>
  <Default Extension="vml" ContentType="application/vnd.openxmlformats-officedocument.vmlDrawing"/>
  <Override PartName="/ppt/slideLayouts/slideLayout41.xml" ContentType="application/vnd.openxmlformats-officedocument.presentationml.slideLayout+xml"/>
  <Override PartName="/ppt/slideLayouts/slideLayout24.xml" ContentType="application/vnd.openxmlformats-officedocument.presentationml.slideLayout+xml"/>
  <Override PartName="/ppt/tags/tag3.xml" ContentType="application/vnd.openxmlformats-officedocument.presentationml.tags+xml"/>
  <Override PartName="/ppt/slides/slide4.xml" ContentType="application/vnd.openxmlformats-officedocument.presentationml.slide+xml"/>
  <Override PartName="/ppt/slideLayouts/slideLayout4.xml" ContentType="application/vnd.openxmlformats-officedocument.presentationml.slideLayout+xml"/>
  <Default Extension="png" ContentType="image/png"/>
  <Override PartName="/ppt/slideLayouts/slideLayout38.xml" ContentType="application/vnd.openxmlformats-officedocument.presentationml.slideLayout+xml"/>
  <Override PartName="/ppt/notesSlides/notesSlide6.xml" ContentType="application/vnd.openxmlformats-officedocument.presentationml.notesSlide+xml"/>
  <Override PartName="/ppt/presProps.xml" ContentType="application/vnd.openxmlformats-officedocument.presentationml.presProps+xml"/>
  <Override PartName="/ppt/slideLayouts/slideLayout31.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40.xml" ContentType="application/vnd.openxmlformats-officedocument.presentationml.slideLayout+xml"/>
  <Override PartName="/ppt/tags/tag9.xml" ContentType="application/vnd.openxmlformats-officedocument.presentationml.tags+xml"/>
  <Override PartName="/ppt/slideLayouts/slideLayout23.xml" ContentType="application/vnd.openxmlformats-officedocument.presentationml.slideLayout+xml"/>
  <Override PartName="/ppt/tags/tag2.xml" ContentType="application/vnd.openxmlformats-officedocument.presentationml.tags+xml"/>
  <Override PartName="/ppt/slides/slide3.xml" ContentType="application/vnd.openxmlformats-officedocument.presentationml.slide+xml"/>
  <Override PartName="/ppt/slideLayouts/slideLayout3.xml" ContentType="application/vnd.openxmlformats-officedocument.presentationml.slideLayout+xml"/>
  <Override PartName="/ppt/slides/slide11.xml" ContentType="application/vnd.openxmlformats-officedocument.presentationml.slide+xml"/>
  <Override PartName="/ppt/slideLayouts/slideLayout37.xml" ContentType="application/vnd.openxmlformats-officedocument.presentationml.slideLayout+xml"/>
  <Override PartName="/ppt/notesSlides/notesSlide5.xml" ContentType="application/vnd.openxmlformats-officedocument.presentationml.notesSlide+xml"/>
  <Override PartName="/ppt/slideLayouts/slideLayout30.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29.xml" ContentType="application/vnd.openxmlformats-officedocument.presentationml.slideLayout+xml"/>
  <Override PartName="/ppt/slides/slide9.xml" ContentType="application/vnd.openxmlformats-officedocument.presentationml.slide+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s/slide2.xml" ContentType="application/vnd.openxmlformats-officedocument.presentationml.slide+xml"/>
  <Override PartName="/ppt/slideLayouts/slideLayout2.xml" ContentType="application/vnd.openxmlformats-officedocument.presentationml.slideLayout+xml"/>
  <Override PartName="/ppt/slides/slide10.xml" ContentType="application/vnd.openxmlformats-officedocument.presentationml.slide+xml"/>
  <Override PartName="/ppt/embeddings/oleObject4.bin" ContentType="application/vnd.openxmlformats-officedocument.oleObject"/>
  <Override PartName="/docProps/app.xml" ContentType="application/vnd.openxmlformats-officedocument.extended-properties+xml"/>
  <Override PartName="/ppt/slideLayouts/slideLayout36.xml" ContentType="application/vnd.openxmlformats-officedocument.presentationml.slideLayout+xml"/>
  <Override PartName="/ppt/notesSlides/notesSlide4.xml" ContentType="application/vnd.openxmlformats-officedocument.presentationml.notesSlide+xml"/>
  <Override PartName="/ppt/slideLayouts/slideLayout19.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28.xml" ContentType="application/vnd.openxmlformats-officedocument.presentationml.slideLayout+xml"/>
  <Override PartName="/ppt/slides/slide8.xml" ContentType="application/vnd.openxmlformats-officedocument.presentationml.slide+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21.xml" ContentType="application/vnd.openxmlformats-officedocument.presentationml.slideLayout+xml"/>
  <Override PartName="/ppt/slides/slide1.xml" ContentType="application/vnd.openxmlformats-officedocument.presentationml.slide+xml"/>
  <Override PartName="/ppt/slideLayouts/slideLayout1.xml" ContentType="application/vnd.openxmlformats-officedocument.presentationml.slideLayout+xml"/>
  <Override PartName="/ppt/slideMasters/slideMaster4.xml" ContentType="application/vnd.openxmlformats-officedocument.presentationml.slideMaster+xml"/>
  <Default Extension="jpeg" ContentType="image/jpeg"/>
  <Override PartName="/ppt/viewProps.xml" ContentType="application/vnd.openxmlformats-officedocument.presentationml.viewProps+xml"/>
  <Override PartName="/ppt/embeddings/oleObject3.bin" ContentType="application/vnd.openxmlformats-officedocument.oleObject"/>
  <Override PartName="/ppt/slideLayouts/slideLayout35.xml" ContentType="application/vnd.openxmlformats-officedocument.presentationml.slideLayout+xml"/>
  <Override PartName="/ppt/notesSlides/notesSlide3.xml" ContentType="application/vnd.openxmlformats-officedocument.presentationml.notes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tags/tag11.xml" ContentType="application/vnd.openxmlformats-officedocument.presentationml.tags+xml"/>
  <Override PartName="/ppt/slideLayouts/slideLayout11.xml" ContentType="application/vnd.openxmlformats-officedocument.presentationml.slideLayout+xml"/>
  <Override PartName="/ppt/slideLayouts/slideLayout27.xml" ContentType="application/vnd.openxmlformats-officedocument.presentationml.slideLayout+xml"/>
  <Override PartName="/ppt/slides/slide7.xml" ContentType="application/vnd.openxmlformats-officedocument.presentationml.slide+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20.xml" ContentType="application/vnd.openxmlformats-officedocument.presentationml.slideLayout+xml"/>
  <Override PartName="/ppt/notesMasters/notesMaster1.xml" ContentType="application/vnd.openxmlformats-officedocument.presentationml.notesMaster+xml"/>
  <Override PartName="/ppt/slideMasters/slideMaster3.xml" ContentType="application/vnd.openxmlformats-officedocument.presentationml.slideMaster+xml"/>
  <Override PartName="/ppt/embeddings/oleObject2.bin" ContentType="application/vnd.openxmlformats-officedocument.oleObject"/>
  <Override PartName="/ppt/slideLayouts/slideLayout34.xml" ContentType="application/vnd.openxmlformats-officedocument.presentationml.slideLayout+xml"/>
  <Override PartName="/ppt/notesSlides/notesSlide2.xml" ContentType="application/vnd.openxmlformats-officedocument.presentationml.notesSlide+xml"/>
  <Override PartName="/ppt/slideLayouts/slideLayout17.xml" ContentType="application/vnd.openxmlformats-officedocument.presentationml.slideLayout+xml"/>
  <Override PartName="/ppt/slideLayouts/slideLayout43.xml" ContentType="application/vnd.openxmlformats-officedocument.presentationml.slideLayout+xml"/>
  <Override PartName="/ppt/theme/theme1.xml" ContentType="application/vnd.openxmlformats-officedocument.theme+xml"/>
  <Override PartName="/ppt/tags/tag10.xml" ContentType="application/vnd.openxmlformats-officedocument.presentationml.tags+xml"/>
  <Override PartName="/ppt/slideLayouts/slideLayout10.xml" ContentType="application/vnd.openxmlformats-officedocument.presentationml.slideLayout+xml"/>
  <Override PartName="/ppt/presentation.xml" ContentType="application/vnd.openxmlformats-officedocument.presentationml.presentation.main+xml"/>
  <Override PartName="/ppt/slideLayouts/slideLayout26.xml" ContentType="application/vnd.openxmlformats-officedocument.presentationml.slideLayout+xml"/>
  <Override PartName="/ppt/slides/slide6.xml" ContentType="application/vnd.openxmlformats-officedocument.presentationml.slide+xml"/>
  <Default Extension="bin" ContentType="application/vnd.openxmlformats-officedocument.presentationml.printerSettings"/>
  <Override PartName="/ppt/slideLayouts/slideLayout6.xml" ContentType="application/vnd.openxmlformats-officedocument.presentationml.slideLayout+xml"/>
  <Override PartName="/ppt/tags/tag5.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trictFirstAndLastChars="0" saveSubsetFonts="1" autoCompressPictures="0">
  <p:sldMasterIdLst>
    <p:sldMasterId r:id="rId1"/>
    <p:sldMasterId r:id="rId2"/>
    <p:sldMasterId r:id="rId3"/>
    <p:sldMasterId r:id="rId4"/>
  </p:sldMasterIdLst>
  <p:notesMasterIdLst>
    <p:notesMasterId r:id="rId16"/>
  </p:notesMasterIdLst>
  <p:sldIdLst>
    <p:sldId id="256" r:id="rId5"/>
    <p:sldId id="266" r:id="rId6"/>
    <p:sldId id="268" r:id="rId7"/>
    <p:sldId id="259" r:id="rId8"/>
    <p:sldId id="271" r:id="rId9"/>
    <p:sldId id="267" r:id="rId10"/>
    <p:sldId id="261" r:id="rId11"/>
    <p:sldId id="269" r:id="rId12"/>
    <p:sldId id="263" r:id="rId13"/>
    <p:sldId id="264" r:id="rId14"/>
    <p:sldId id="265" r:id="rId15"/>
  </p:sldIdLst>
  <p:sldSz cx="9144000" cy="5143500" type="screen16x9"/>
  <p:notesSz cx="6811963" cy="9942513"/>
  <p:defaultTextStyle>
    <a:defPPr>
      <a:defRPr lang="en-GB"/>
    </a:defPPr>
    <a:lvl1pPr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457200" rtl="0" eaLnBrk="1" latinLnBrk="0" hangingPunct="1">
      <a:defRPr kern="1200">
        <a:solidFill>
          <a:schemeClr val="tx1"/>
        </a:solidFill>
        <a:latin typeface="Arial" charset="0"/>
        <a:ea typeface="+mn-ea"/>
        <a:cs typeface="+mn-cs"/>
      </a:defRPr>
    </a:lvl6pPr>
    <a:lvl7pPr marL="2743200" algn="l" defTabSz="457200" rtl="0" eaLnBrk="1" latinLnBrk="0" hangingPunct="1">
      <a:defRPr kern="1200">
        <a:solidFill>
          <a:schemeClr val="tx1"/>
        </a:solidFill>
        <a:latin typeface="Arial" charset="0"/>
        <a:ea typeface="+mn-ea"/>
        <a:cs typeface="+mn-cs"/>
      </a:defRPr>
    </a:lvl7pPr>
    <a:lvl8pPr marL="3200400" algn="l" defTabSz="457200" rtl="0" eaLnBrk="1" latinLnBrk="0" hangingPunct="1">
      <a:defRPr kern="1200">
        <a:solidFill>
          <a:schemeClr val="tx1"/>
        </a:solidFill>
        <a:latin typeface="Arial" charset="0"/>
        <a:ea typeface="+mn-ea"/>
        <a:cs typeface="+mn-cs"/>
      </a:defRPr>
    </a:lvl8pPr>
    <a:lvl9pPr marL="3657600" algn="l" defTabSz="4572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showPr showNarration="1">
    <p:present/>
    <p:sldAll/>
    <p:penClr>
      <a:schemeClr val="tx1"/>
    </p:penClr>
  </p:showPr>
  <p:clrMru>
    <a:srgbClr val="8080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showOutlineIcons="0">
    <p:restoredLeft sz="15620"/>
    <p:restoredTop sz="97636" autoAdjust="0"/>
  </p:normalViewPr>
  <p:slideViewPr>
    <p:cSldViewPr>
      <p:cViewPr varScale="1">
        <p:scale>
          <a:sx n="113" d="100"/>
          <a:sy n="113" d="100"/>
        </p:scale>
        <p:origin x="0" y="-152"/>
      </p:cViewPr>
      <p:guideLst>
        <p:guide orient="horz" pos="2160"/>
        <p:guide pos="2880"/>
      </p:guideLst>
    </p:cSldViewPr>
  </p:slideViewPr>
  <p:outlineViewPr>
    <p:cViewPr varScale="1">
      <p:scale>
        <a:sx n="170" d="200"/>
        <a:sy n="170" d="200"/>
      </p:scale>
      <p:origin x="-780" y="-84"/>
    </p:cViewPr>
  </p:outlineViewPr>
  <p:notesTextViewPr>
    <p:cViewPr>
      <p:scale>
        <a:sx n="100" d="100"/>
        <a:sy n="100" d="100"/>
      </p:scale>
      <p:origin x="0" y="0"/>
    </p:cViewPr>
  </p:notesTextViewPr>
  <p:notesViewPr>
    <p:cSldViewPr>
      <p:cViewPr varScale="1">
        <p:scale>
          <a:sx n="59" d="100"/>
          <a:sy n="59" d="100"/>
        </p:scale>
        <p:origin x="-1752"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notesMaster" Target="notesMasters/notesMaster1.xml"/><Relationship Id="rId17" Type="http://schemas.openxmlformats.org/officeDocument/2006/relationships/printerSettings" Target="printerSettings/printerSettings1.bin"/><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5121" name="Rectangle 1"/>
          <p:cNvSpPr>
            <a:spLocks noGrp="1" noRot="1" noChangeAspect="1" noChangeArrowheads="1"/>
          </p:cNvSpPr>
          <p:nvPr>
            <p:ph type="sldImg"/>
          </p:nvPr>
        </p:nvSpPr>
        <p:spPr bwMode="auto">
          <a:xfrm>
            <a:off x="1106488" y="812800"/>
            <a:ext cx="5343525" cy="4006850"/>
          </a:xfrm>
          <a:prstGeom prst="rect">
            <a:avLst/>
          </a:prstGeom>
          <a:noFill/>
          <a:ln w="9525">
            <a:noFill/>
            <a:round/>
            <a:headEnd/>
            <a:tailEnd/>
          </a:ln>
          <a:effectLst/>
        </p:spPr>
      </p:sp>
      <p:sp>
        <p:nvSpPr>
          <p:cNvPr id="5122" name="Rectangle 2"/>
          <p:cNvSpPr>
            <a:spLocks noGrp="1" noChangeArrowheads="1"/>
          </p:cNvSpPr>
          <p:nvPr>
            <p:ph type="body"/>
          </p:nvPr>
        </p:nvSpPr>
        <p:spPr bwMode="auto">
          <a:xfrm>
            <a:off x="755650" y="5078413"/>
            <a:ext cx="6046788" cy="481012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de-CH"/>
          </a:p>
        </p:txBody>
      </p:sp>
      <p:sp>
        <p:nvSpPr>
          <p:cNvPr id="5123" name="Rectangle 3"/>
          <p:cNvSpPr>
            <a:spLocks noGrp="1" noChangeArrowheads="1"/>
          </p:cNvSpPr>
          <p:nvPr>
            <p:ph type="hdr"/>
          </p:nvPr>
        </p:nvSpPr>
        <p:spPr bwMode="auto">
          <a:xfrm>
            <a:off x="0" y="0"/>
            <a:ext cx="3279775" cy="53340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endParaRPr lang="de-DE"/>
          </a:p>
        </p:txBody>
      </p:sp>
      <p:sp>
        <p:nvSpPr>
          <p:cNvPr id="5124" name="Rectangle 4"/>
          <p:cNvSpPr>
            <a:spLocks noGrp="1" noChangeArrowheads="1"/>
          </p:cNvSpPr>
          <p:nvPr>
            <p:ph type="dt"/>
          </p:nvPr>
        </p:nvSpPr>
        <p:spPr bwMode="auto">
          <a:xfrm>
            <a:off x="4278313" y="0"/>
            <a:ext cx="3279775" cy="53340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endParaRPr lang="de-DE"/>
          </a:p>
        </p:txBody>
      </p:sp>
      <p:sp>
        <p:nvSpPr>
          <p:cNvPr id="5125" name="Rectangle 5"/>
          <p:cNvSpPr>
            <a:spLocks noGrp="1" noChangeArrowheads="1"/>
          </p:cNvSpPr>
          <p:nvPr>
            <p:ph type="ftr"/>
          </p:nvPr>
        </p:nvSpPr>
        <p:spPr bwMode="auto">
          <a:xfrm>
            <a:off x="0" y="10156825"/>
            <a:ext cx="3279775" cy="53340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endParaRPr lang="de-DE"/>
          </a:p>
        </p:txBody>
      </p:sp>
      <p:sp>
        <p:nvSpPr>
          <p:cNvPr id="5126" name="Rectangle 6"/>
          <p:cNvSpPr>
            <a:spLocks noGrp="1" noChangeArrowheads="1"/>
          </p:cNvSpPr>
          <p:nvPr>
            <p:ph type="sldNum"/>
          </p:nvPr>
        </p:nvSpPr>
        <p:spPr bwMode="auto">
          <a:xfrm>
            <a:off x="4278313" y="10156825"/>
            <a:ext cx="3279775" cy="53340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fld id="{9855594F-D2E8-A14B-8037-B67E5D11D819}" type="slidenum">
              <a:rPr lang="de-DE"/>
              <a:pPr/>
              <a:t>‹#›</a:t>
            </a:fld>
            <a:endParaRPr lang="de-DE"/>
          </a:p>
        </p:txBody>
      </p:sp>
    </p:spTree>
  </p:cSld>
  <p:clrMap bg1="lt1" tx1="dk1" bg2="lt2" tx2="dk2" accent1="accent1" accent2="accent2" accent3="accent3" accent4="accent4" accent5="accent5" accent6="accent6" hlink="hlink" folHlink="folHlink"/>
  <p:notesStyle>
    <a:lvl1pPr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6082D37C-8DC6-244A-AAB1-B22FF6649CDF}" type="slidenum">
              <a:rPr lang="de-DE"/>
              <a:pPr/>
              <a:t>1</a:t>
            </a:fld>
            <a:endParaRPr lang="de-DE"/>
          </a:p>
        </p:txBody>
      </p:sp>
      <p:sp>
        <p:nvSpPr>
          <p:cNvPr id="16385" name="Text Box 1"/>
          <p:cNvSpPr txBox="1">
            <a:spLocks noGrp="1" noRot="1" noChangeAspect="1" noChangeArrowheads="1"/>
          </p:cNvSpPr>
          <p:nvPr>
            <p:ph type="sldImg"/>
          </p:nvPr>
        </p:nvSpPr>
        <p:spPr bwMode="auto">
          <a:xfrm>
            <a:off x="447675" y="788988"/>
            <a:ext cx="5916613" cy="3327400"/>
          </a:xfrm>
          <a:prstGeom prst="rect">
            <a:avLst/>
          </a:prstGeom>
          <a:solidFill>
            <a:srgbClr val="FFFFFF"/>
          </a:solidFill>
          <a:ln>
            <a:solidFill>
              <a:srgbClr val="000000"/>
            </a:solidFill>
            <a:miter lim="800000"/>
            <a:headEnd/>
            <a:tailEnd/>
          </a:ln>
        </p:spPr>
      </p:sp>
      <p:sp>
        <p:nvSpPr>
          <p:cNvPr id="16386" name="Text Box 2"/>
          <p:cNvSpPr txBox="1">
            <a:spLocks noGrp="1" noChangeArrowheads="1"/>
          </p:cNvSpPr>
          <p:nvPr>
            <p:ph type="body" idx="1"/>
          </p:nvPr>
        </p:nvSpPr>
        <p:spPr bwMode="auto">
          <a:xfrm>
            <a:off x="0" y="0"/>
            <a:ext cx="1588" cy="1588"/>
          </a:xfrm>
          <a:prstGeom prst="rect">
            <a:avLst/>
          </a:prstGeom>
          <a:noFill/>
          <a:ln>
            <a:round/>
            <a:headEnd/>
            <a:tailEnd/>
          </a:ln>
        </p:spPr>
        <p:txBody>
          <a:bodyPr wrap="none" anchor="ctr">
            <a:prstTxWarp prst="textNoShape">
              <a:avLst/>
            </a:prstTxWarp>
          </a:bodyPr>
          <a:lstStyle/>
          <a:p>
            <a:pPr eaLnBrk="1">
              <a:spcBef>
                <a:spcPct val="0"/>
              </a:spcBef>
            </a:pPr>
            <a:endParaRPr lang="de-DE" sz="2000">
              <a:latin typeface="Arial" charset="0"/>
              <a:ea typeface="Arial Unicode MS" charset="0"/>
              <a:cs typeface="Arial Unicode MS"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56E1514D-9C01-4C42-B7AB-8BBC01720852}" type="slidenum">
              <a:rPr lang="de-DE"/>
              <a:pPr/>
              <a:t>4</a:t>
            </a:fld>
            <a:endParaRPr lang="de-DE"/>
          </a:p>
        </p:txBody>
      </p:sp>
      <p:sp>
        <p:nvSpPr>
          <p:cNvPr id="19457"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19458"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56E1514D-9C01-4C42-B7AB-8BBC01720852}" type="slidenum">
              <a:rPr lang="de-DE"/>
              <a:pPr/>
              <a:t>5</a:t>
            </a:fld>
            <a:endParaRPr lang="de-DE"/>
          </a:p>
        </p:txBody>
      </p:sp>
      <p:sp>
        <p:nvSpPr>
          <p:cNvPr id="19457"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19458"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7C9254BD-341A-A846-916F-3AE05C96E9B2}" type="slidenum">
              <a:rPr lang="de-DE"/>
              <a:pPr/>
              <a:t>7</a:t>
            </a:fld>
            <a:endParaRPr lang="de-DE"/>
          </a:p>
        </p:txBody>
      </p:sp>
      <p:sp>
        <p:nvSpPr>
          <p:cNvPr id="21505"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1506"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8350D831-FCBE-EC4E-94B9-61B7AC6FBB0A}" type="slidenum">
              <a:rPr lang="de-DE"/>
              <a:pPr/>
              <a:t>9</a:t>
            </a:fld>
            <a:endParaRPr lang="de-DE"/>
          </a:p>
        </p:txBody>
      </p:sp>
      <p:sp>
        <p:nvSpPr>
          <p:cNvPr id="23553"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3554"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4DD9A06C-B1C6-2F48-B032-CED7FD518DED}" type="slidenum">
              <a:rPr lang="de-DE"/>
              <a:pPr/>
              <a:t>10</a:t>
            </a:fld>
            <a:endParaRPr lang="de-DE"/>
          </a:p>
        </p:txBody>
      </p:sp>
      <p:sp>
        <p:nvSpPr>
          <p:cNvPr id="24577"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4578"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BC43322F-CD86-294B-9083-A982F24DEFF4}" type="slidenum">
              <a:rPr lang="de-DE"/>
              <a:pPr/>
              <a:t>11</a:t>
            </a:fld>
            <a:endParaRPr lang="de-DE"/>
          </a:p>
        </p:txBody>
      </p:sp>
      <p:sp>
        <p:nvSpPr>
          <p:cNvPr id="25601"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5602"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779588"/>
            <a:ext cx="2122488" cy="3022600"/>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779588"/>
            <a:ext cx="6219825" cy="3022600"/>
          </a:xfr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text</a:t>
            </a:r>
            <a:r>
              <a:rPr lang="de-CH" noProof="0" dirty="0" smtClean="0"/>
              <a:t> </a:t>
            </a:r>
            <a:r>
              <a:rPr lang="de-CH" noProof="0" dirty="0" err="1" smtClean="0"/>
              <a:t>for</a:t>
            </a:r>
            <a:r>
              <a:rPr lang="de-CH" noProof="0" dirty="0" smtClean="0"/>
              <a:t> </a:t>
            </a:r>
            <a:r>
              <a:rPr lang="de-CH" noProof="0" dirty="0" err="1" smtClean="0"/>
              <a:t>divider</a:t>
            </a:r>
            <a:r>
              <a:rPr lang="de-CH" noProof="0" dirty="0" smtClean="0"/>
              <a:t> </a:t>
            </a:r>
            <a:r>
              <a:rPr lang="de-CH" noProof="0" dirty="0" err="1" smtClean="0"/>
              <a:t>slide</a:t>
            </a:r>
            <a:endParaRPr lang="de-CH" noProof="0"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988860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457200" y="1203325"/>
            <a:ext cx="4037013" cy="3392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1203325"/>
            <a:ext cx="4038600" cy="3392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203325"/>
            <a:ext cx="2122488" cy="3392488"/>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203325"/>
            <a:ext cx="6219825" cy="3392488"/>
          </a:xfr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a:xfrm>
            <a:off x="323850" y="915988"/>
            <a:ext cx="8494713" cy="285750"/>
          </a:xfrm>
          <a:prstGeom prst="rect">
            <a:avLst/>
          </a:prstGeom>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323850" y="915988"/>
            <a:ext cx="4170363" cy="2857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915988"/>
            <a:ext cx="4171950" cy="2857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915988"/>
            <a:ext cx="8494713" cy="285750"/>
          </a:xfrm>
          <a:prstGeom prst="rect">
            <a:avLst/>
          </a:prstGeo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95263"/>
            <a:ext cx="2122488" cy="1006475"/>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95263"/>
            <a:ext cx="6219825" cy="1006475"/>
          </a:xfrm>
          <a:prstGeom prst="rect">
            <a:avLst/>
          </a:prstGeo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323410" y="915566"/>
            <a:ext cx="8496740" cy="288255"/>
          </a:xfrm>
          <a:prstGeom prst="rect">
            <a:avLst/>
          </a:prstGeo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subheadline</a:t>
            </a:r>
            <a:endParaRPr lang="de-CH" noProof="0" dirty="0" smtClean="0"/>
          </a:p>
        </p:txBody>
      </p:sp>
      <p:sp>
        <p:nvSpPr>
          <p:cNvPr id="4" name="Textplatzhalter 3"/>
          <p:cNvSpPr>
            <a:spLocks noGrp="1"/>
          </p:cNvSpPr>
          <p:nvPr>
            <p:ph type="body" sz="quarter" idx="11" hasCustomPrompt="1"/>
          </p:nvPr>
        </p:nvSpPr>
        <p:spPr bwMode="gray">
          <a:xfrm>
            <a:off x="323528" y="4803552"/>
            <a:ext cx="8496300" cy="144462"/>
          </a:xfrm>
          <a:prstGeom prst="rect">
            <a:avLst/>
          </a:prstGeo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source</a:t>
            </a:r>
            <a:r>
              <a:rPr lang="de-CH" noProof="0" dirty="0" smtClean="0"/>
              <a:t> </a:t>
            </a:r>
            <a:r>
              <a:rPr lang="de-CH" noProof="0" dirty="0" err="1" smtClean="0"/>
              <a:t>information</a:t>
            </a:r>
            <a:endParaRPr lang="de-CH" noProof="0" dirty="0" smtClean="0"/>
          </a:p>
        </p:txBody>
      </p:sp>
      <p:sp>
        <p:nvSpPr>
          <p:cNvPr id="5" name="Title 4"/>
          <p:cNvSpPr>
            <a:spLocks noGrp="1"/>
          </p:cNvSpPr>
          <p:nvPr>
            <p:ph type="title" hasCustomPrompt="1"/>
          </p:nvPr>
        </p:nvSpPr>
        <p:spPr/>
        <p:txBody>
          <a:bodyPr/>
          <a:lstStyle/>
          <a:p>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headline</a:t>
            </a:r>
            <a:endParaRPr lang="de-CH" noProof="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9189207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323850" y="915988"/>
            <a:ext cx="4170363" cy="3814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915988"/>
            <a:ext cx="4171950" cy="3814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323850" y="4587875"/>
            <a:ext cx="4170363" cy="214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4587875"/>
            <a:ext cx="4171950" cy="214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95263"/>
            <a:ext cx="2122488" cy="4535487"/>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95263"/>
            <a:ext cx="6219825" cy="4535487"/>
          </a:xfr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text</a:t>
            </a:r>
            <a:r>
              <a:rPr lang="de-CH" noProof="0" dirty="0" smtClean="0"/>
              <a:t> </a:t>
            </a:r>
            <a:r>
              <a:rPr lang="de-CH" noProof="0" dirty="0" err="1" smtClean="0"/>
              <a:t>for</a:t>
            </a:r>
            <a:r>
              <a:rPr lang="de-CH" noProof="0" dirty="0" smtClean="0"/>
              <a:t> </a:t>
            </a:r>
            <a:r>
              <a:rPr lang="de-CH" noProof="0" dirty="0" err="1" smtClean="0"/>
              <a:t>divider</a:t>
            </a:r>
            <a:r>
              <a:rPr lang="de-CH" noProof="0" dirty="0" smtClean="0"/>
              <a:t> </a:t>
            </a:r>
            <a:r>
              <a:rPr lang="de-CH" noProof="0" dirty="0" err="1" smtClean="0"/>
              <a:t>slide</a:t>
            </a:r>
            <a:endParaRPr lang="de-CH" noProof="0"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988860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p:spPr>
        <p:txBody>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p:spPr>
        <p:txBody>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vmlDrawing" Target="../drawings/vmlDrawing1.vml"/><Relationship Id="rId15" Type="http://schemas.openxmlformats.org/officeDocument/2006/relationships/oleObject" Target="../embeddings/oleObject1.bin"/><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theme" Target="../theme/theme2.xml"/><Relationship Id="rId13" Type="http://schemas.openxmlformats.org/officeDocument/2006/relationships/vmlDrawing" Target="../drawings/vmlDrawing2.vml"/><Relationship Id="rId14" Type="http://schemas.openxmlformats.org/officeDocument/2006/relationships/oleObject" Target="../embeddings/oleObject2.bin"/><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slideLayout" Target="../slideLayouts/slideLayout35.xml"/><Relationship Id="rId13" Type="http://schemas.openxmlformats.org/officeDocument/2006/relationships/theme" Target="../theme/theme3.xml"/><Relationship Id="rId14" Type="http://schemas.openxmlformats.org/officeDocument/2006/relationships/vmlDrawing" Target="../drawings/vmlDrawing3.vml"/><Relationship Id="rId15" Type="http://schemas.openxmlformats.org/officeDocument/2006/relationships/oleObject" Target="../embeddings/oleObject3.bin"/><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theme" Target="../theme/theme4.xml"/><Relationship Id="rId14" Type="http://schemas.openxmlformats.org/officeDocument/2006/relationships/vmlDrawing" Target="../drawings/vmlDrawing4.vml"/><Relationship Id="rId15" Type="http://schemas.openxmlformats.org/officeDocument/2006/relationships/oleObject" Target="../embeddings/oleObject4.bin"/><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 Id="rId9" Type="http://schemas.openxmlformats.org/officeDocument/2006/relationships/slideLayout" Target="../slideLayouts/slideLayout44.xml"/><Relationship Id="rId10"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1025" name="AutoShape 1"/>
          <p:cNvGraphicFramePr>
            <a:graphicFrameLocks noChangeAspect="1"/>
          </p:cNvGraphicFramePr>
          <p:nvPr/>
        </p:nvGraphicFramePr>
        <p:xfrm>
          <a:off x="0" y="0"/>
          <a:ext cx="36513" cy="36513"/>
        </p:xfrm>
        <a:graphic>
          <a:graphicData uri="http://schemas.openxmlformats.org/presentationml/2006/ole">
            <p:oleObj spid="_x0000_s1025" r:id="rId15" imgW="0" imgH="0" progId="">
              <p:embed/>
            </p:oleObj>
          </a:graphicData>
        </a:graphic>
      </p:graphicFrame>
      <p:grpSp>
        <p:nvGrpSpPr>
          <p:cNvPr id="1026" name="Group 2"/>
          <p:cNvGrpSpPr>
            <a:grpSpLocks/>
          </p:cNvGrpSpPr>
          <p:nvPr/>
        </p:nvGrpSpPr>
        <p:grpSpPr bwMode="auto">
          <a:xfrm>
            <a:off x="323850" y="-531813"/>
            <a:ext cx="8494713" cy="430213"/>
            <a:chOff x="204" y="-335"/>
            <a:chExt cx="5351" cy="271"/>
          </a:xfrm>
        </p:grpSpPr>
        <p:sp>
          <p:nvSpPr>
            <p:cNvPr id="1027"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28"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29"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0"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1"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2"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3"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4"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5"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6"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7"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8"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1039" name="Group 15"/>
          <p:cNvGrpSpPr>
            <a:grpSpLocks/>
          </p:cNvGrpSpPr>
          <p:nvPr/>
        </p:nvGrpSpPr>
        <p:grpSpPr bwMode="auto">
          <a:xfrm>
            <a:off x="323850" y="-531813"/>
            <a:ext cx="8494713" cy="430213"/>
            <a:chOff x="204" y="-335"/>
            <a:chExt cx="5351" cy="271"/>
          </a:xfrm>
        </p:grpSpPr>
        <p:sp>
          <p:nvSpPr>
            <p:cNvPr id="1040"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1"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2"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3"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4"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5"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6"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7"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8"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9"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0"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1"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1052" name="Group 28"/>
          <p:cNvGrpSpPr>
            <a:grpSpLocks/>
          </p:cNvGrpSpPr>
          <p:nvPr/>
        </p:nvGrpSpPr>
        <p:grpSpPr bwMode="auto">
          <a:xfrm>
            <a:off x="9251950" y="195263"/>
            <a:ext cx="214313" cy="4751387"/>
            <a:chOff x="5828" y="123"/>
            <a:chExt cx="135" cy="2993"/>
          </a:xfrm>
        </p:grpSpPr>
        <p:sp>
          <p:nvSpPr>
            <p:cNvPr id="1053"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4"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5"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6"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7"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8"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9"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0"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1"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2"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3"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4"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5"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6"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7"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8"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1069" name="Group 45"/>
          <p:cNvGrpSpPr>
            <a:grpSpLocks/>
          </p:cNvGrpSpPr>
          <p:nvPr/>
        </p:nvGrpSpPr>
        <p:grpSpPr bwMode="auto">
          <a:xfrm>
            <a:off x="-323850" y="195263"/>
            <a:ext cx="214312" cy="4751387"/>
            <a:chOff x="-204" y="123"/>
            <a:chExt cx="135" cy="2993"/>
          </a:xfrm>
        </p:grpSpPr>
        <p:sp>
          <p:nvSpPr>
            <p:cNvPr id="1070"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1"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2"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3"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4"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5"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6"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7"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8"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9"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0"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1"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2"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3"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4"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5"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1086"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5F5EC471-C601-E64C-B78A-775695F547E1}"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1087"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1088" name="Rectangle 64"/>
          <p:cNvSpPr>
            <a:spLocks noGrp="1" noChangeArrowheads="1"/>
          </p:cNvSpPr>
          <p:nvPr>
            <p:ph type="title"/>
          </p:nvPr>
        </p:nvSpPr>
        <p:spPr bwMode="auto">
          <a:xfrm>
            <a:off x="323850" y="1779588"/>
            <a:ext cx="8494713" cy="1006475"/>
          </a:xfrm>
          <a:prstGeom prst="rect">
            <a:avLst/>
          </a:prstGeom>
          <a:noFill/>
          <a:ln w="9525">
            <a:noFill/>
            <a:round/>
            <a:headEnd/>
            <a:tailEnd/>
          </a:ln>
          <a:effectLst/>
        </p:spPr>
        <p:txBody>
          <a:bodyPr vert="horz" wrap="square" lIns="90000" tIns="45000" rIns="90000" bIns="45000" numCol="1" anchor="b" anchorCtr="0" compatLnSpc="1">
            <a:prstTxWarp prst="textNoShape">
              <a:avLst/>
            </a:prstTxWarp>
          </a:bodyPr>
          <a:lstStyle/>
          <a:p>
            <a:pPr lvl="0"/>
            <a:r>
              <a:rPr lang="en-GB"/>
              <a:t>Klicken Sie, um das Format des Titeltextes zu bearbeitenClick to add title of presentation</a:t>
            </a:r>
          </a:p>
        </p:txBody>
      </p:sp>
      <p:sp>
        <p:nvSpPr>
          <p:cNvPr id="1089" name="Rectangle 65"/>
          <p:cNvSpPr>
            <a:spLocks noChangeArrowheads="1"/>
          </p:cNvSpPr>
          <p:nvPr/>
        </p:nvSpPr>
        <p:spPr bwMode="auto">
          <a:xfrm>
            <a:off x="0" y="4927600"/>
            <a:ext cx="9144000" cy="215900"/>
          </a:xfrm>
          <a:prstGeom prst="rect">
            <a:avLst/>
          </a:prstGeom>
          <a:solidFill>
            <a:srgbClr val="FFFFFF"/>
          </a:solidFill>
          <a:ln w="9360">
            <a:noFill/>
            <a:round/>
            <a:headEnd/>
            <a:tailEnd/>
          </a:ln>
          <a:effectLst/>
        </p:spPr>
        <p:txBody>
          <a:bodyPr wrap="none" anchor="ctr">
            <a:prstTxWarp prst="textNoShape">
              <a:avLst/>
            </a:prstTxWarp>
          </a:bodyPr>
          <a:lstStyle/>
          <a:p>
            <a:endParaRPr lang="de-CH"/>
          </a:p>
        </p:txBody>
      </p:sp>
      <p:sp>
        <p:nvSpPr>
          <p:cNvPr id="1090" name="Rectangle 66"/>
          <p:cNvSpPr>
            <a:spLocks noGrp="1" noChangeArrowheads="1"/>
          </p:cNvSpPr>
          <p:nvPr>
            <p:ph type="body" idx="1"/>
          </p:nvPr>
        </p:nvSpPr>
        <p:spPr bwMode="auto">
          <a:xfrm>
            <a:off x="323850" y="4587875"/>
            <a:ext cx="8494713" cy="214313"/>
          </a:xfrm>
          <a:prstGeom prst="rect">
            <a:avLst/>
          </a:prstGeom>
          <a:noFill/>
          <a:ln w="9525">
            <a:noFill/>
            <a:round/>
            <a:headEnd/>
            <a:tailEnd/>
          </a:ln>
          <a:effectLst/>
        </p:spPr>
        <p:txBody>
          <a:bodyPr vert="horz" wrap="square" lIns="90000" tIns="0" rIns="90000" bIns="45000" numCol="1" anchor="b" anchorCtr="0" compatLnSpc="1">
            <a:prstTxWarp prst="textNoShape">
              <a:avLst/>
            </a:prstTxWarp>
          </a:bodyPr>
          <a:lstStyle/>
          <a:p>
            <a:pPr lvl="0"/>
            <a:r>
              <a:rPr lang="en-GB"/>
              <a:t>Klicken Sie, um die Formate des Gliederungstextes zu bearbeiten</a:t>
            </a:r>
          </a:p>
          <a:p>
            <a:pPr lvl="1"/>
            <a:r>
              <a:rPr lang="en-GB"/>
              <a:t>Zweite Gliederungsebene</a:t>
            </a:r>
          </a:p>
          <a:p>
            <a:pPr lvl="2"/>
            <a:r>
              <a:rPr lang="en-GB"/>
              <a:t>Dritte Gliederungsebene</a:t>
            </a:r>
          </a:p>
          <a:p>
            <a:pPr lvl="3"/>
            <a:r>
              <a:rPr lang="en-GB"/>
              <a:t>Vierte Gliederungsebene</a:t>
            </a:r>
          </a:p>
          <a:p>
            <a:pPr lvl="4"/>
            <a:r>
              <a:rPr lang="en-GB"/>
              <a:t>Fünfte Gliederungsebene</a:t>
            </a:r>
          </a:p>
          <a:p>
            <a:pPr lvl="4"/>
            <a:r>
              <a:rPr lang="en-GB"/>
              <a:t>Sechste Gliederungsebene</a:t>
            </a:r>
          </a:p>
          <a:p>
            <a:pPr lvl="4"/>
            <a:r>
              <a:rPr lang="en-GB"/>
              <a:t>Siebente Gliederungsebene</a:t>
            </a:r>
          </a:p>
          <a:p>
            <a:pPr lvl="4"/>
            <a:r>
              <a:rPr lang="en-GB"/>
              <a:t>Achte Gliederungsebene</a:t>
            </a:r>
          </a:p>
          <a:p>
            <a:pPr lvl="0"/>
            <a:r>
              <a:rPr lang="en-GB"/>
              <a:t>Neunte GliederungsebeneClick to add additional text, e.g. author, location, dat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2049" name="AutoShape 1"/>
          <p:cNvGraphicFramePr>
            <a:graphicFrameLocks noChangeAspect="1"/>
          </p:cNvGraphicFramePr>
          <p:nvPr/>
        </p:nvGraphicFramePr>
        <p:xfrm>
          <a:off x="0" y="0"/>
          <a:ext cx="36513" cy="36513"/>
        </p:xfrm>
        <a:graphic>
          <a:graphicData uri="http://schemas.openxmlformats.org/presentationml/2006/ole">
            <p:oleObj spid="_x0000_s2049" r:id="rId14" imgW="0" imgH="0" progId="">
              <p:embed/>
            </p:oleObj>
          </a:graphicData>
        </a:graphic>
      </p:graphicFrame>
      <p:grpSp>
        <p:nvGrpSpPr>
          <p:cNvPr id="2050" name="Group 2"/>
          <p:cNvGrpSpPr>
            <a:grpSpLocks/>
          </p:cNvGrpSpPr>
          <p:nvPr/>
        </p:nvGrpSpPr>
        <p:grpSpPr bwMode="auto">
          <a:xfrm>
            <a:off x="323850" y="-531813"/>
            <a:ext cx="8494713" cy="430213"/>
            <a:chOff x="204" y="-335"/>
            <a:chExt cx="5351" cy="271"/>
          </a:xfrm>
        </p:grpSpPr>
        <p:sp>
          <p:nvSpPr>
            <p:cNvPr id="2051"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2"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3"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4"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5"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6"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7"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8"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9"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0"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1"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2"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2063" name="Group 15"/>
          <p:cNvGrpSpPr>
            <a:grpSpLocks/>
          </p:cNvGrpSpPr>
          <p:nvPr/>
        </p:nvGrpSpPr>
        <p:grpSpPr bwMode="auto">
          <a:xfrm>
            <a:off x="323850" y="-531813"/>
            <a:ext cx="8494713" cy="430213"/>
            <a:chOff x="204" y="-335"/>
            <a:chExt cx="5351" cy="271"/>
          </a:xfrm>
        </p:grpSpPr>
        <p:sp>
          <p:nvSpPr>
            <p:cNvPr id="2064"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5"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6"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7"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8"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9"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0"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1"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2"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3"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4"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5"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2076" name="Group 28"/>
          <p:cNvGrpSpPr>
            <a:grpSpLocks/>
          </p:cNvGrpSpPr>
          <p:nvPr/>
        </p:nvGrpSpPr>
        <p:grpSpPr bwMode="auto">
          <a:xfrm>
            <a:off x="9251950" y="195263"/>
            <a:ext cx="214313" cy="4751387"/>
            <a:chOff x="5828" y="123"/>
            <a:chExt cx="135" cy="2993"/>
          </a:xfrm>
        </p:grpSpPr>
        <p:sp>
          <p:nvSpPr>
            <p:cNvPr id="2077"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8"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9"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0"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1"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2"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3"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4"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5"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6"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7"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8"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9"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0"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1"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2"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2093" name="Group 45"/>
          <p:cNvGrpSpPr>
            <a:grpSpLocks/>
          </p:cNvGrpSpPr>
          <p:nvPr/>
        </p:nvGrpSpPr>
        <p:grpSpPr bwMode="auto">
          <a:xfrm>
            <a:off x="-323850" y="195263"/>
            <a:ext cx="214312" cy="4751387"/>
            <a:chOff x="-204" y="123"/>
            <a:chExt cx="135" cy="2993"/>
          </a:xfrm>
        </p:grpSpPr>
        <p:sp>
          <p:nvSpPr>
            <p:cNvPr id="2094"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5"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6"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7"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8"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9"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0"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1"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2"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3"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4"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5"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6"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7"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8"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9"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2110"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EA10627B-6D04-664A-851B-2238EC4C65FB}"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2111"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2112" name="Rectangle 64"/>
          <p:cNvSpPr>
            <a:spLocks noGrp="1" noChangeArrowheads="1"/>
          </p:cNvSpPr>
          <p:nvPr>
            <p:ph type="title"/>
          </p:nvPr>
        </p:nvSpPr>
        <p:spPr bwMode="auto">
          <a:xfrm>
            <a:off x="323850" y="1779588"/>
            <a:ext cx="8494713" cy="1438275"/>
          </a:xfrm>
          <a:prstGeom prst="rect">
            <a:avLst/>
          </a:prstGeom>
          <a:gradFill rotWithShape="0">
            <a:gsLst>
              <a:gs pos="0">
                <a:srgbClr val="DC291E"/>
              </a:gs>
              <a:gs pos="100000">
                <a:srgbClr val="F9B200"/>
              </a:gs>
            </a:gsLst>
            <a:lin ang="0" scaled="1"/>
          </a:gradFill>
          <a:ln w="9360">
            <a:noFill/>
            <a:round/>
            <a:headEnd/>
            <a:tailEnd/>
          </a:ln>
          <a:effectLst/>
        </p:spPr>
        <p:txBody>
          <a:bodyPr vert="horz" wrap="square" lIns="324000" tIns="0" rIns="324000" bIns="0" numCol="1" anchor="ctr" anchorCtr="0" compatLnSpc="1">
            <a:prstTxWarp prst="textNoShape">
              <a:avLst/>
            </a:prstTxWarp>
          </a:bodyPr>
          <a:lstStyle/>
          <a:p>
            <a:pPr lvl="0"/>
            <a:r>
              <a:rPr lang="en-GB"/>
              <a:t>Klicken Sie, um das Format des Titeltextes zu bearbeitenClick to add text for divider slide</a:t>
            </a:r>
          </a:p>
        </p:txBody>
      </p:sp>
      <p:sp>
        <p:nvSpPr>
          <p:cNvPr id="2113" name="Rectangle 65"/>
          <p:cNvSpPr>
            <a:spLocks noChangeArrowheads="1"/>
          </p:cNvSpPr>
          <p:nvPr/>
        </p:nvSpPr>
        <p:spPr bwMode="auto">
          <a:xfrm>
            <a:off x="0" y="0"/>
            <a:ext cx="9144000" cy="1635125"/>
          </a:xfrm>
          <a:prstGeom prst="rect">
            <a:avLst/>
          </a:prstGeom>
          <a:solidFill>
            <a:srgbClr val="FFFFFF"/>
          </a:solidFill>
          <a:ln w="9360">
            <a:noFill/>
            <a:round/>
            <a:headEnd/>
            <a:tailEnd/>
          </a:ln>
          <a:effectLst/>
        </p:spPr>
        <p:txBody>
          <a:bodyPr wrap="none" anchor="ctr">
            <a:prstTxWarp prst="textNoShape">
              <a:avLst/>
            </a:prstTxWarp>
          </a:bodyPr>
          <a:lstStyle/>
          <a:p>
            <a:endParaRPr lang="de-CH"/>
          </a:p>
        </p:txBody>
      </p:sp>
      <p:sp>
        <p:nvSpPr>
          <p:cNvPr id="2114" name="Rectangle 66"/>
          <p:cNvSpPr>
            <a:spLocks noGrp="1" noChangeArrowheads="1"/>
          </p:cNvSpPr>
          <p:nvPr>
            <p:ph type="body" idx="1"/>
          </p:nvPr>
        </p:nvSpPr>
        <p:spPr bwMode="auto">
          <a:xfrm>
            <a:off x="457200" y="1203325"/>
            <a:ext cx="8228013" cy="3392488"/>
          </a:xfrm>
          <a:prstGeom prst="rect">
            <a:avLst/>
          </a:prstGeom>
          <a:noFill/>
          <a:ln w="9525">
            <a:noFill/>
            <a:round/>
            <a:headEnd/>
            <a:tailEnd/>
          </a:ln>
          <a:effectLst/>
        </p:spPr>
        <p:txBody>
          <a:bodyPr vert="horz" wrap="square" lIns="0" tIns="14112" rIns="0" bIns="0" numCol="1" anchor="t" anchorCtr="0" compatLnSpc="1">
            <a:prstTxWarp prst="textNoShape">
              <a:avLst/>
            </a:prstTxWarp>
          </a:bodyPr>
          <a:lstStyle/>
          <a:p>
            <a:pPr lvl="0"/>
            <a:r>
              <a:rPr lang="en-GB"/>
              <a:t>Klicken Sie, um die Formate des Gliederungstextes zu bearbeiten</a:t>
            </a:r>
          </a:p>
          <a:p>
            <a:pPr lvl="1"/>
            <a:r>
              <a:rPr lang="en-GB"/>
              <a:t>Zweite Gliederungsebene</a:t>
            </a:r>
          </a:p>
          <a:p>
            <a:pPr lvl="2"/>
            <a:r>
              <a:rPr lang="en-GB"/>
              <a:t>Dritte Gliederungsebene</a:t>
            </a:r>
          </a:p>
          <a:p>
            <a:pPr lvl="3"/>
            <a:r>
              <a:rPr lang="en-GB"/>
              <a:t>Vierte Gliederungsebene</a:t>
            </a:r>
          </a:p>
          <a:p>
            <a:pPr lvl="4"/>
            <a:r>
              <a:rPr lang="en-GB"/>
              <a:t>Fünfte Gliederungsebene</a:t>
            </a:r>
          </a:p>
          <a:p>
            <a:pPr lvl="4"/>
            <a:r>
              <a:rPr lang="en-GB"/>
              <a:t>Sechste Gliederungsebene</a:t>
            </a:r>
          </a:p>
          <a:p>
            <a:pPr lvl="4"/>
            <a:r>
              <a:rPr lang="en-GB"/>
              <a:t>Siebente Gliederungsebene</a:t>
            </a:r>
          </a:p>
          <a:p>
            <a:pPr lvl="4"/>
            <a:r>
              <a:rPr lang="en-GB"/>
              <a:t>Achte Gliederungsebene</a:t>
            </a:r>
          </a:p>
          <a:p>
            <a:pPr lvl="4"/>
            <a:r>
              <a:rPr lang="en-GB"/>
              <a:t>Neunte Gliederungseben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3073" name="AutoShape 1"/>
          <p:cNvGraphicFramePr>
            <a:graphicFrameLocks noChangeAspect="1"/>
          </p:cNvGraphicFramePr>
          <p:nvPr/>
        </p:nvGraphicFramePr>
        <p:xfrm>
          <a:off x="0" y="0"/>
          <a:ext cx="36513" cy="36513"/>
        </p:xfrm>
        <a:graphic>
          <a:graphicData uri="http://schemas.openxmlformats.org/presentationml/2006/ole">
            <p:oleObj spid="_x0000_s3073" r:id="rId15" imgW="0" imgH="0" progId="">
              <p:embed/>
            </p:oleObj>
          </a:graphicData>
        </a:graphic>
      </p:graphicFrame>
      <p:grpSp>
        <p:nvGrpSpPr>
          <p:cNvPr id="3074" name="Group 2"/>
          <p:cNvGrpSpPr>
            <a:grpSpLocks/>
          </p:cNvGrpSpPr>
          <p:nvPr/>
        </p:nvGrpSpPr>
        <p:grpSpPr bwMode="auto">
          <a:xfrm>
            <a:off x="323850" y="-531813"/>
            <a:ext cx="8494713" cy="430213"/>
            <a:chOff x="204" y="-335"/>
            <a:chExt cx="5351" cy="271"/>
          </a:xfrm>
        </p:grpSpPr>
        <p:sp>
          <p:nvSpPr>
            <p:cNvPr id="3075"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6"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7"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8"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9"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0"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1"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2"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3"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4"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5"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6"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3087" name="Group 15"/>
          <p:cNvGrpSpPr>
            <a:grpSpLocks/>
          </p:cNvGrpSpPr>
          <p:nvPr/>
        </p:nvGrpSpPr>
        <p:grpSpPr bwMode="auto">
          <a:xfrm>
            <a:off x="323850" y="-531813"/>
            <a:ext cx="8494713" cy="430213"/>
            <a:chOff x="204" y="-335"/>
            <a:chExt cx="5351" cy="271"/>
          </a:xfrm>
        </p:grpSpPr>
        <p:sp>
          <p:nvSpPr>
            <p:cNvPr id="3088"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9"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0"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1"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2"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3"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4"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5"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6"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7"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8"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9"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3100" name="Group 28"/>
          <p:cNvGrpSpPr>
            <a:grpSpLocks/>
          </p:cNvGrpSpPr>
          <p:nvPr/>
        </p:nvGrpSpPr>
        <p:grpSpPr bwMode="auto">
          <a:xfrm>
            <a:off x="9251950" y="195263"/>
            <a:ext cx="214313" cy="4751387"/>
            <a:chOff x="5828" y="123"/>
            <a:chExt cx="135" cy="2993"/>
          </a:xfrm>
        </p:grpSpPr>
        <p:sp>
          <p:nvSpPr>
            <p:cNvPr id="3101"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2"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3"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4"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5"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6"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7"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8"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9"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0"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1"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2"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3"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4"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5"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6"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3117" name="Group 45"/>
          <p:cNvGrpSpPr>
            <a:grpSpLocks/>
          </p:cNvGrpSpPr>
          <p:nvPr/>
        </p:nvGrpSpPr>
        <p:grpSpPr bwMode="auto">
          <a:xfrm>
            <a:off x="-323850" y="195263"/>
            <a:ext cx="214312" cy="4751387"/>
            <a:chOff x="-204" y="123"/>
            <a:chExt cx="135" cy="2993"/>
          </a:xfrm>
        </p:grpSpPr>
        <p:sp>
          <p:nvSpPr>
            <p:cNvPr id="3118"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9"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0"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1"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2"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3"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4"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5"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6"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7"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8"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9"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0"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1"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2"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3"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3134"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742D5A16-A396-DA49-8627-DC177E940FE8}"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3135"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3138" name="Rectangle 66"/>
          <p:cNvSpPr>
            <a:spLocks noGrp="1" noChangeArrowheads="1"/>
          </p:cNvSpPr>
          <p:nvPr>
            <p:ph type="title"/>
          </p:nvPr>
        </p:nvSpPr>
        <p:spPr bwMode="auto">
          <a:xfrm>
            <a:off x="323850" y="195263"/>
            <a:ext cx="6407150" cy="574675"/>
          </a:xfrm>
          <a:prstGeom prst="rect">
            <a:avLst/>
          </a:prstGeom>
          <a:noFill/>
          <a:ln w="9525">
            <a:noFill/>
            <a:round/>
            <a:headEnd/>
            <a:tailEnd/>
          </a:ln>
          <a:effectLst/>
        </p:spPr>
        <p:txBody>
          <a:bodyPr vert="horz" wrap="square" lIns="90000" tIns="45000" rIns="90000" bIns="45000" numCol="1" anchor="t" anchorCtr="0" compatLnSpc="1">
            <a:prstTxWarp prst="textNoShape">
              <a:avLst/>
            </a:prstTxWarp>
          </a:bodyPr>
          <a:lstStyle/>
          <a:p>
            <a:pPr lvl="0"/>
            <a:r>
              <a:rPr lang="en-GB"/>
              <a:t>Klicken Sie, um das Format des Titeltextes zu bearbeitenClick to add headlin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4097" name="AutoShape 1"/>
          <p:cNvGraphicFramePr>
            <a:graphicFrameLocks noChangeAspect="1"/>
          </p:cNvGraphicFramePr>
          <p:nvPr/>
        </p:nvGraphicFramePr>
        <p:xfrm>
          <a:off x="0" y="0"/>
          <a:ext cx="36513" cy="36513"/>
        </p:xfrm>
        <a:graphic>
          <a:graphicData uri="http://schemas.openxmlformats.org/presentationml/2006/ole">
            <p:oleObj spid="_x0000_s4097" r:id="rId15" imgW="0" imgH="0" progId="">
              <p:embed/>
            </p:oleObj>
          </a:graphicData>
        </a:graphic>
      </p:graphicFrame>
      <p:grpSp>
        <p:nvGrpSpPr>
          <p:cNvPr id="4098" name="Group 2"/>
          <p:cNvGrpSpPr>
            <a:grpSpLocks/>
          </p:cNvGrpSpPr>
          <p:nvPr/>
        </p:nvGrpSpPr>
        <p:grpSpPr bwMode="auto">
          <a:xfrm>
            <a:off x="323850" y="-531813"/>
            <a:ext cx="8494713" cy="430213"/>
            <a:chOff x="204" y="-335"/>
            <a:chExt cx="5351" cy="271"/>
          </a:xfrm>
        </p:grpSpPr>
        <p:sp>
          <p:nvSpPr>
            <p:cNvPr id="4099"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0"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1"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2"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3"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4"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5"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6"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7"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8"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9"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0"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4111" name="Group 15"/>
          <p:cNvGrpSpPr>
            <a:grpSpLocks/>
          </p:cNvGrpSpPr>
          <p:nvPr/>
        </p:nvGrpSpPr>
        <p:grpSpPr bwMode="auto">
          <a:xfrm>
            <a:off x="323850" y="-531813"/>
            <a:ext cx="8494713" cy="430213"/>
            <a:chOff x="204" y="-335"/>
            <a:chExt cx="5351" cy="271"/>
          </a:xfrm>
        </p:grpSpPr>
        <p:sp>
          <p:nvSpPr>
            <p:cNvPr id="4112"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3"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4"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5"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6"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7"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8"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9"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0"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1"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2"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3"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4124" name="Group 28"/>
          <p:cNvGrpSpPr>
            <a:grpSpLocks/>
          </p:cNvGrpSpPr>
          <p:nvPr/>
        </p:nvGrpSpPr>
        <p:grpSpPr bwMode="auto">
          <a:xfrm>
            <a:off x="9251950" y="195263"/>
            <a:ext cx="214313" cy="4751387"/>
            <a:chOff x="5828" y="123"/>
            <a:chExt cx="135" cy="2993"/>
          </a:xfrm>
        </p:grpSpPr>
        <p:sp>
          <p:nvSpPr>
            <p:cNvPr id="4125"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6"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7"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8"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9"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0"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1"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2"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3"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4"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5"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6"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7"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8"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9"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0"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4141" name="Group 45"/>
          <p:cNvGrpSpPr>
            <a:grpSpLocks/>
          </p:cNvGrpSpPr>
          <p:nvPr/>
        </p:nvGrpSpPr>
        <p:grpSpPr bwMode="auto">
          <a:xfrm>
            <a:off x="-323850" y="195263"/>
            <a:ext cx="214312" cy="4751387"/>
            <a:chOff x="-204" y="123"/>
            <a:chExt cx="135" cy="2993"/>
          </a:xfrm>
        </p:grpSpPr>
        <p:sp>
          <p:nvSpPr>
            <p:cNvPr id="4142"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3"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4"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5"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6"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7"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8"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9"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0"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1"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2"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3"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4"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5"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6"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7"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4158"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14389230-C934-F642-8E3F-149B61D1768F}"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4159"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4160" name="Rectangle 64"/>
          <p:cNvSpPr>
            <a:spLocks noGrp="1" noChangeArrowheads="1"/>
          </p:cNvSpPr>
          <p:nvPr>
            <p:ph type="title"/>
          </p:nvPr>
        </p:nvSpPr>
        <p:spPr bwMode="auto">
          <a:xfrm>
            <a:off x="323850" y="195263"/>
            <a:ext cx="6407150" cy="574675"/>
          </a:xfrm>
          <a:prstGeom prst="rect">
            <a:avLst/>
          </a:prstGeom>
          <a:noFill/>
          <a:ln w="9525">
            <a:noFill/>
            <a:round/>
            <a:headEnd/>
            <a:tailEnd/>
          </a:ln>
          <a:effectLst/>
        </p:spPr>
        <p:txBody>
          <a:bodyPr vert="horz" wrap="square" lIns="90000" tIns="45000" rIns="90000" bIns="45000" numCol="1" anchor="t" anchorCtr="0" compatLnSpc="1">
            <a:prstTxWarp prst="textNoShape">
              <a:avLst/>
            </a:prstTxWarp>
          </a:bodyPr>
          <a:lstStyle/>
          <a:p>
            <a:pPr lvl="0"/>
            <a:r>
              <a:rPr lang="en-GB"/>
              <a:t>Klicken Sie, um das Format des Titeltextes zu bearbeitenClick to add headline</a:t>
            </a:r>
          </a:p>
        </p:txBody>
      </p:sp>
      <p:sp>
        <p:nvSpPr>
          <p:cNvPr id="4161" name="Rectangle 65"/>
          <p:cNvSpPr>
            <a:spLocks noGrp="1" noChangeArrowheads="1"/>
          </p:cNvSpPr>
          <p:nvPr>
            <p:ph type="body" idx="1"/>
          </p:nvPr>
        </p:nvSpPr>
        <p:spPr bwMode="auto">
          <a:xfrm>
            <a:off x="323850" y="915988"/>
            <a:ext cx="8494713" cy="3814762"/>
          </a:xfrm>
          <a:prstGeom prst="rect">
            <a:avLst/>
          </a:prstGeom>
          <a:noFill/>
          <a:ln w="9525">
            <a:noFill/>
            <a:round/>
            <a:headEnd/>
            <a:tailEnd/>
          </a:ln>
          <a:effectLst/>
        </p:spPr>
        <p:txBody>
          <a:bodyPr vert="horz" wrap="square" lIns="90000" tIns="45000" rIns="90000" bIns="45000" numCol="1" anchor="t" anchorCtr="0" compatLnSpc="1">
            <a:prstTxWarp prst="textNoShape">
              <a:avLst/>
            </a:prstTxWarp>
          </a:bodyPr>
          <a:lstStyle/>
          <a:p>
            <a:pPr lvl="0"/>
            <a:r>
              <a:rPr lang="en-GB"/>
              <a:t>Klicken Sie, um die Formate des Gliederungstextes zu bearbeiten</a:t>
            </a:r>
          </a:p>
          <a:p>
            <a:pPr lvl="1"/>
            <a:r>
              <a:rPr lang="en-GB"/>
              <a:t>Zweite Gliederungsebene</a:t>
            </a:r>
          </a:p>
          <a:p>
            <a:pPr lvl="2"/>
            <a:r>
              <a:rPr lang="en-GB"/>
              <a:t>Dritte Gliederungsebene</a:t>
            </a:r>
          </a:p>
          <a:p>
            <a:pPr lvl="3"/>
            <a:r>
              <a:rPr lang="en-GB"/>
              <a:t>Vierte Gliederungsebene</a:t>
            </a:r>
          </a:p>
          <a:p>
            <a:pPr lvl="4"/>
            <a:r>
              <a:rPr lang="en-GB"/>
              <a:t>Fünfte Gliederungsebene</a:t>
            </a:r>
          </a:p>
          <a:p>
            <a:pPr lvl="4"/>
            <a:r>
              <a:rPr lang="en-GB"/>
              <a:t>Sechste Gliederungsebene</a:t>
            </a:r>
          </a:p>
          <a:p>
            <a:pPr lvl="4"/>
            <a:r>
              <a:rPr lang="en-GB"/>
              <a:t>Siebente Gliederungsebene</a:t>
            </a:r>
          </a:p>
          <a:p>
            <a:pPr lvl="4"/>
            <a:r>
              <a:rPr lang="en-GB"/>
              <a:t>Achte Gliederungsebene</a:t>
            </a:r>
          </a:p>
          <a:p>
            <a:pPr lvl="0"/>
            <a:r>
              <a:rPr lang="en-GB"/>
              <a:t>Neunte GliederungsebeneClick to add agenda</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slideLayout" Target="../slideLayouts/slideLayout30.xml"/><Relationship Id="rId5" Type="http://schemas.openxmlformats.org/officeDocument/2006/relationships/notesSlide" Target="../notesSlides/notesSlide7.xml"/><Relationship Id="rId6" Type="http://schemas.openxmlformats.org/officeDocument/2006/relationships/hyperlink" Target="mailto:stephan@soulsville.de" TargetMode="External"/><Relationship Id="rId7" Type="http://schemas.openxmlformats.org/officeDocument/2006/relationships/hyperlink" Target="http://www.erneuerbareenergien.biz" TargetMode="External"/><Relationship Id="rId8" Type="http://schemas.openxmlformats.org/officeDocument/2006/relationships/hyperlink" Target="http://www.hand11.net/" TargetMode="External"/><Relationship Id="rId1" Type="http://schemas.openxmlformats.org/officeDocument/2006/relationships/tags" Target="../tags/tag11.xml"/><Relationship Id="rId2" Type="http://schemas.openxmlformats.org/officeDocument/2006/relationships/tags" Target="../tags/tag1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12.xml"/><Relationship Id="rId1" Type="http://schemas.openxmlformats.org/officeDocument/2006/relationships/tags" Target="../tags/tag1.xml"/><Relationship Id="rId2" Type="http://schemas.openxmlformats.org/officeDocument/2006/relationships/tags" Target="../tags/tag2.xml"/></Relationships>
</file>

<file path=ppt/slides/_rels/slide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jpeg"/><Relationship Id="rId5" Type="http://schemas.openxmlformats.org/officeDocument/2006/relationships/image" Target="../media/image4.png"/><Relationship Id="rId1" Type="http://schemas.openxmlformats.org/officeDocument/2006/relationships/slideLayout" Target="../slideLayouts/slideLayout42.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3.xml"/><Relationship Id="rId3"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Layout" Target="../slideLayouts/slideLayout47.xml"/><Relationship Id="rId1" Type="http://schemas.openxmlformats.org/officeDocument/2006/relationships/tags" Target="../tags/tag6.xml"/><Relationship Id="rId2" Type="http://schemas.openxmlformats.org/officeDocument/2006/relationships/tags" Target="../tags/tag7.xml"/></Relationships>
</file>

<file path=ppt/slides/_rels/slide7.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30.xml"/><Relationship Id="rId3"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5" name="Rectangle 1"/>
          <p:cNvSpPr>
            <a:spLocks noChangeArrowheads="1"/>
          </p:cNvSpPr>
          <p:nvPr/>
        </p:nvSpPr>
        <p:spPr bwMode="auto">
          <a:xfrm>
            <a:off x="0" y="2138363"/>
            <a:ext cx="9144000" cy="1008062"/>
          </a:xfrm>
          <a:prstGeom prst="rect">
            <a:avLst/>
          </a:prstGeom>
          <a:solidFill>
            <a:srgbClr val="FFFFFF">
              <a:alpha val="67000"/>
            </a:srgbClr>
          </a:solidFill>
          <a:ln w="9525">
            <a:noFill/>
            <a:round/>
            <a:headEnd/>
            <a:tailEnd/>
          </a:ln>
          <a:effectLst/>
        </p:spPr>
        <p:txBody>
          <a:bodyPr lIns="180000" tIns="0" rIns="0" bIns="0" anchor="b">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de-DE" sz="3200" dirty="0">
                <a:solidFill>
                  <a:srgbClr val="8E8581"/>
                </a:solidFill>
                <a:ea typeface="Arial Unicode MS" charset="0"/>
                <a:cs typeface="Arial Unicode MS" charset="0"/>
              </a:rPr>
              <a:t>Portfolio Erneuerbare </a:t>
            </a:r>
            <a:r>
              <a:rPr lang="de-DE" sz="3200" dirty="0" smtClean="0">
                <a:solidFill>
                  <a:srgbClr val="8E8581"/>
                </a:solidFill>
                <a:ea typeface="Arial Unicode MS" charset="0"/>
                <a:cs typeface="Arial Unicode MS" charset="0"/>
              </a:rPr>
              <a:t>Energien</a:t>
            </a:r>
          </a:p>
          <a:p>
            <a:pPr hangingPunct="1">
              <a:lnSpc>
                <a:spcPct val="100000"/>
              </a:lnSpc>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sz="3200" dirty="0" smtClean="0">
                <a:solidFill>
                  <a:srgbClr val="808080"/>
                </a:solidFill>
              </a:rPr>
              <a:t>“</a:t>
            </a:r>
            <a:r>
              <a:rPr lang="en-US" sz="3200" dirty="0" err="1" smtClean="0">
                <a:solidFill>
                  <a:srgbClr val="808080"/>
                </a:solidFill>
              </a:rPr>
              <a:t>Erneuerbare</a:t>
            </a:r>
            <a:r>
              <a:rPr lang="en-US" sz="3200" dirty="0" smtClean="0">
                <a:solidFill>
                  <a:srgbClr val="808080"/>
                </a:solidFill>
              </a:rPr>
              <a:t> </a:t>
            </a:r>
            <a:r>
              <a:rPr lang="en-US" sz="3200" dirty="0" err="1" smtClean="0">
                <a:solidFill>
                  <a:srgbClr val="808080"/>
                </a:solidFill>
              </a:rPr>
              <a:t>Energien</a:t>
            </a:r>
            <a:r>
              <a:rPr lang="en-US" sz="3200" dirty="0" smtClean="0">
                <a:solidFill>
                  <a:srgbClr val="808080"/>
                </a:solidFill>
              </a:rPr>
              <a:t>" Hand 11  013</a:t>
            </a:r>
            <a:endParaRPr lang="de-DE" sz="3200" dirty="0">
              <a:solidFill>
                <a:srgbClr val="808080"/>
              </a:solidFill>
              <a:ea typeface="Arial Unicode MS" charset="0"/>
              <a:cs typeface="Arial Unicode MS" charset="0"/>
            </a:endParaRPr>
          </a:p>
        </p:txBody>
      </p:sp>
      <p:pic>
        <p:nvPicPr>
          <p:cNvPr id="6146" name="Picture 2"/>
          <p:cNvPicPr>
            <a:picLocks noChangeAspect="1" noChangeArrowheads="1"/>
          </p:cNvPicPr>
          <p:nvPr/>
        </p:nvPicPr>
        <p:blipFill>
          <a:blip r:embed="rId3"/>
          <a:srcRect/>
          <a:stretch>
            <a:fillRect/>
          </a:stretch>
        </p:blipFill>
        <p:spPr bwMode="auto">
          <a:xfrm>
            <a:off x="7155047" y="1885950"/>
            <a:ext cx="1684153" cy="1682750"/>
          </a:xfrm>
          <a:prstGeom prst="rect">
            <a:avLst/>
          </a:prstGeom>
          <a:noFill/>
          <a:ln w="9525">
            <a:noFill/>
            <a:round/>
            <a:headEnd/>
            <a:tailEnd/>
          </a:ln>
          <a:effectLst/>
        </p:spPr>
      </p:pic>
      <p:sp>
        <p:nvSpPr>
          <p:cNvPr id="4" name="TextBox 3"/>
          <p:cNvSpPr txBox="1"/>
          <p:nvPr/>
        </p:nvSpPr>
        <p:spPr>
          <a:xfrm>
            <a:off x="76200" y="3181350"/>
            <a:ext cx="5794237" cy="380361"/>
          </a:xfrm>
          <a:prstGeom prst="rect">
            <a:avLst/>
          </a:prstGeom>
          <a:noFill/>
        </p:spPr>
        <p:txBody>
          <a:bodyPr wrap="none" rtlCol="0">
            <a:spAutoFit/>
          </a:bodyPr>
          <a:lstStyle/>
          <a:p>
            <a:r>
              <a:rPr lang="en-US" sz="1000" dirty="0" smtClean="0">
                <a:solidFill>
                  <a:schemeClr val="bg2"/>
                </a:solidFill>
              </a:rPr>
              <a:t>"</a:t>
            </a:r>
            <a:r>
              <a:rPr lang="en-US" sz="1000" dirty="0" err="1" smtClean="0">
                <a:solidFill>
                  <a:schemeClr val="bg2"/>
                </a:solidFill>
              </a:rPr>
              <a:t>Erneuerbare</a:t>
            </a:r>
            <a:r>
              <a:rPr lang="en-US" sz="1000" dirty="0" smtClean="0">
                <a:solidFill>
                  <a:schemeClr val="bg2"/>
                </a:solidFill>
              </a:rPr>
              <a:t> </a:t>
            </a:r>
            <a:r>
              <a:rPr lang="en-US" sz="1000" dirty="0" err="1" smtClean="0">
                <a:solidFill>
                  <a:schemeClr val="bg2"/>
                </a:solidFill>
              </a:rPr>
              <a:t>Energien</a:t>
            </a:r>
            <a:r>
              <a:rPr lang="en-US" sz="1000" dirty="0" smtClean="0">
                <a:solidFill>
                  <a:schemeClr val="bg2"/>
                </a:solidFill>
              </a:rPr>
              <a:t> </a:t>
            </a:r>
            <a:r>
              <a:rPr lang="en-US" sz="1000" dirty="0" err="1" smtClean="0">
                <a:solidFill>
                  <a:schemeClr val="bg2"/>
                </a:solidFill>
              </a:rPr>
              <a:t>erscheint</a:t>
            </a:r>
            <a:r>
              <a:rPr lang="en-US" sz="1000" dirty="0" smtClean="0">
                <a:solidFill>
                  <a:schemeClr val="bg2"/>
                </a:solidFill>
              </a:rPr>
              <a:t> am 16.6. </a:t>
            </a:r>
            <a:r>
              <a:rPr lang="en-US" sz="1000" dirty="0" err="1" smtClean="0">
                <a:solidFill>
                  <a:schemeClr val="bg2"/>
                </a:solidFill>
              </a:rPr>
              <a:t>als</a:t>
            </a:r>
            <a:r>
              <a:rPr lang="en-US" sz="1000" dirty="0" smtClean="0">
                <a:solidFill>
                  <a:schemeClr val="bg2"/>
                </a:solidFill>
              </a:rPr>
              <a:t> Download, Stream und </a:t>
            </a:r>
            <a:r>
              <a:rPr lang="en-US" sz="1000" dirty="0" err="1" smtClean="0">
                <a:solidFill>
                  <a:schemeClr val="bg2"/>
                </a:solidFill>
              </a:rPr>
              <a:t>Vinylausgabe</a:t>
            </a:r>
            <a:r>
              <a:rPr lang="en-US" sz="1000" dirty="0" smtClean="0">
                <a:solidFill>
                  <a:schemeClr val="bg2"/>
                </a:solidFill>
              </a:rPr>
              <a:t>. </a:t>
            </a:r>
            <a:br>
              <a:rPr lang="en-US" sz="1000" dirty="0" smtClean="0">
                <a:solidFill>
                  <a:schemeClr val="bg2"/>
                </a:solidFill>
              </a:rPr>
            </a:br>
            <a:r>
              <a:rPr lang="en-US" sz="1000" dirty="0" err="1" smtClean="0">
                <a:solidFill>
                  <a:schemeClr val="bg2"/>
                </a:solidFill>
              </a:rPr>
              <a:t>Vertrieb</a:t>
            </a:r>
            <a:r>
              <a:rPr lang="en-US" sz="1000" dirty="0" smtClean="0">
                <a:solidFill>
                  <a:schemeClr val="bg2"/>
                </a:solidFill>
              </a:rPr>
              <a:t> via </a:t>
            </a:r>
            <a:r>
              <a:rPr lang="en-US" sz="1000" dirty="0" err="1" smtClean="0">
                <a:solidFill>
                  <a:schemeClr val="bg2"/>
                </a:solidFill>
              </a:rPr>
              <a:t>Finetunes</a:t>
            </a:r>
            <a:r>
              <a:rPr lang="en-US" sz="1000" dirty="0" smtClean="0">
                <a:solidFill>
                  <a:schemeClr val="bg2"/>
                </a:solidFill>
              </a:rPr>
              <a:t> (Digital, </a:t>
            </a:r>
            <a:r>
              <a:rPr lang="en-US" sz="1000" dirty="0" err="1" smtClean="0">
                <a:solidFill>
                  <a:schemeClr val="bg2"/>
                </a:solidFill>
              </a:rPr>
              <a:t>weltweit</a:t>
            </a:r>
            <a:r>
              <a:rPr lang="en-US" sz="1000" dirty="0" smtClean="0">
                <a:solidFill>
                  <a:schemeClr val="bg2"/>
                </a:solidFill>
              </a:rPr>
              <a:t>), Broken </a:t>
            </a:r>
            <a:r>
              <a:rPr lang="en-US" sz="1000" dirty="0" err="1" smtClean="0">
                <a:solidFill>
                  <a:schemeClr val="bg2"/>
                </a:solidFill>
              </a:rPr>
              <a:t>Silince</a:t>
            </a:r>
            <a:r>
              <a:rPr lang="en-US" sz="1000" dirty="0" smtClean="0">
                <a:solidFill>
                  <a:schemeClr val="bg2"/>
                </a:solidFill>
              </a:rPr>
              <a:t> (Vinyl, Deutschland, </a:t>
            </a:r>
            <a:r>
              <a:rPr lang="en-US" sz="1000" dirty="0" err="1" smtClean="0">
                <a:solidFill>
                  <a:schemeClr val="bg2"/>
                </a:solidFill>
              </a:rPr>
              <a:t>Österreich</a:t>
            </a:r>
            <a:r>
              <a:rPr lang="en-US" sz="1000" dirty="0" smtClean="0">
                <a:solidFill>
                  <a:schemeClr val="bg2"/>
                </a:solidFill>
              </a:rPr>
              <a:t>, </a:t>
            </a:r>
            <a:r>
              <a:rPr lang="en-US" sz="1000" dirty="0" err="1" smtClean="0">
                <a:solidFill>
                  <a:schemeClr val="bg2"/>
                </a:solidFill>
              </a:rPr>
              <a:t>Schweiz</a:t>
            </a:r>
            <a:r>
              <a:rPr lang="en-US" sz="1000" dirty="0" smtClean="0">
                <a:solidFill>
                  <a:schemeClr val="bg2"/>
                </a:solidFill>
              </a:rPr>
              <a:t>)."</a:t>
            </a:r>
            <a:endParaRPr lang="de-CH" sz="1000" dirty="0">
              <a:solidFill>
                <a:schemeClr val="bg2"/>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337" name="Oval 1"/>
          <p:cNvSpPr>
            <a:spLocks noChangeArrowheads="1"/>
          </p:cNvSpPr>
          <p:nvPr/>
        </p:nvSpPr>
        <p:spPr bwMode="auto">
          <a:xfrm>
            <a:off x="2051050" y="1203325"/>
            <a:ext cx="2592388" cy="2592388"/>
          </a:xfrm>
          <a:prstGeom prst="ellipse">
            <a:avLst/>
          </a:prstGeom>
          <a:solidFill>
            <a:srgbClr val="F0AB00">
              <a:alpha val="89999"/>
            </a:srgbClr>
          </a:solidFill>
          <a:ln w="9360">
            <a:solidFill>
              <a:srgbClr val="F0AB00"/>
            </a:solidFill>
            <a:round/>
            <a:headEnd/>
            <a:tailEnd/>
          </a:ln>
          <a:effectLst/>
        </p:spPr>
        <p:txBody>
          <a:bodyPr wrap="none" lIns="72000" rIns="72000" anchor="ctr">
            <a:prstTxWarp prst="textNoShape">
              <a:avLst/>
            </a:prstTxWarp>
          </a:bodyPr>
          <a:lstStyle/>
          <a:p>
            <a:pPr algn="ctr" hangingPunct="1">
              <a:lnSpc>
                <a:spcPct val="90000"/>
              </a:lnSpc>
              <a:spcBef>
                <a:spcPts val="300"/>
              </a:spcBef>
              <a:tabLst>
                <a:tab pos="723900" algn="l"/>
                <a:tab pos="1447800" algn="l"/>
                <a:tab pos="2171700" algn="l"/>
              </a:tabLst>
            </a:pPr>
            <a:r>
              <a:rPr lang="de-DE" sz="3200">
                <a:solidFill>
                  <a:srgbClr val="FFFFFF"/>
                </a:solidFill>
                <a:ea typeface="Arial Unicode MS" charset="0"/>
                <a:cs typeface="Arial Unicode MS" charset="0"/>
              </a:rPr>
              <a:t>Credits</a:t>
            </a:r>
          </a:p>
        </p:txBody>
      </p:sp>
      <p:sp>
        <p:nvSpPr>
          <p:cNvPr id="14338" name="Freeform 2"/>
          <p:cNvSpPr>
            <a:spLocks noChangeArrowheads="1"/>
          </p:cNvSpPr>
          <p:nvPr/>
        </p:nvSpPr>
        <p:spPr bwMode="auto">
          <a:xfrm>
            <a:off x="4716463" y="2500313"/>
            <a:ext cx="4606925" cy="1587"/>
          </a:xfrm>
          <a:custGeom>
            <a:avLst/>
            <a:gdLst>
              <a:gd name="G0" fmla="*/ 36528 36528 1"/>
              <a:gd name="G1" fmla="*/ G0 1 36528"/>
              <a:gd name="G2" fmla="*/ 1 0 51712"/>
              <a:gd name="G3" fmla="*/ G2 360 1"/>
              <a:gd name="G4" fmla="*/ 1 0 51712"/>
              <a:gd name="G5" fmla="*/ G3 1 G4"/>
              <a:gd name="G6" fmla="*/ 1 0 51712"/>
              <a:gd name="G7" fmla="*/ G6 36528 1"/>
              <a:gd name="G8" fmla="*/ G7 1 36528"/>
              <a:gd name="G9" fmla="*/ 1 0 51712"/>
              <a:gd name="G10" fmla="*/ G9 360 1"/>
              <a:gd name="G11" fmla="*/ 1 0 51712"/>
              <a:gd name="G12" fmla="*/ G10 1 G11"/>
              <a:gd name="G13" fmla="+- 36528 0 0"/>
              <a:gd name="G14" fmla="+- 360 0 0"/>
            </a:gdLst>
            <a:ahLst/>
            <a:cxnLst>
              <a:cxn ang="0">
                <a:pos x="822960" y="0"/>
              </a:cxn>
              <a:cxn ang="0">
                <a:pos x="0" y="0"/>
              </a:cxn>
            </a:cxnLst>
            <a:rect l="0" t="0" r="r" b="b"/>
            <a:pathLst>
              <a:path w="822960" h="360">
                <a:moveTo>
                  <a:pt x="822960" y="0"/>
                </a:moveTo>
                <a:lnTo>
                  <a:pt x="0" y="0"/>
                </a:lnTo>
              </a:path>
            </a:pathLst>
          </a:custGeom>
          <a:noFill/>
          <a:ln w="28440">
            <a:solidFill>
              <a:srgbClr val="F0AB00"/>
            </a:solidFill>
            <a:round/>
            <a:headEnd/>
            <a:tailEnd/>
          </a:ln>
          <a:effectLst/>
        </p:spPr>
        <p:txBody>
          <a:bodyPr wrap="none" anchor="ctr">
            <a:prstTxWarp prst="textNoShape">
              <a:avLst/>
            </a:prstTxWarp>
          </a:bodyPr>
          <a:lstStyle/>
          <a:p>
            <a:endParaRPr lang="de-CH"/>
          </a:p>
        </p:txBody>
      </p:sp>
      <p:sp>
        <p:nvSpPr>
          <p:cNvPr id="14339" name="Freeform 3"/>
          <p:cNvSpPr>
            <a:spLocks noChangeArrowheads="1"/>
          </p:cNvSpPr>
          <p:nvPr/>
        </p:nvSpPr>
        <p:spPr bwMode="auto">
          <a:xfrm>
            <a:off x="3348038" y="3868738"/>
            <a:ext cx="1587" cy="1295400"/>
          </a:xfrm>
          <a:custGeom>
            <a:avLst/>
            <a:gdLst>
              <a:gd name="G0" fmla="*/ 48744 360 1"/>
              <a:gd name="G1" fmla="*/ G0 1 48744"/>
              <a:gd name="G2" fmla="*/ 1 0 51712"/>
              <a:gd name="G3" fmla="*/ G2 56344 1"/>
              <a:gd name="G4" fmla="*/ G3 1 39552"/>
              <a:gd name="G5" fmla="*/ 1 0 51712"/>
              <a:gd name="G6" fmla="*/ G5 360 1"/>
              <a:gd name="G7" fmla="*/ G6 1 48744"/>
              <a:gd name="G8" fmla="*/ 48744 56344 1"/>
              <a:gd name="G9" fmla="*/ G8 1 39552"/>
              <a:gd name="G10" fmla="*/ 1 0 51712"/>
              <a:gd name="G11" fmla="*/ G10 360 1"/>
              <a:gd name="G12" fmla="*/ G11 1 48744"/>
              <a:gd name="G13" fmla="*/ 39552 56344 1"/>
              <a:gd name="G14" fmla="*/ G13 1 39552"/>
              <a:gd name="G15" fmla="*/ 1 0 51712"/>
              <a:gd name="G16" fmla="*/ G15 360 1"/>
              <a:gd name="G17" fmla="*/ 1 0 51712"/>
              <a:gd name="G18" fmla="*/ G16 1 G17"/>
              <a:gd name="G19" fmla="*/ 1 0 51712"/>
              <a:gd name="G20" fmla="*/ G19 56344 1"/>
              <a:gd name="G21" fmla="*/ G20 1 56344"/>
              <a:gd name="G22" fmla="*/ 1 0 51712"/>
              <a:gd name="G23" fmla="*/ G22 360 1"/>
              <a:gd name="G24" fmla="*/ 1 0 51712"/>
              <a:gd name="G25" fmla="*/ G23 1 G24"/>
              <a:gd name="G26" fmla="*/ 56344 56344 1"/>
              <a:gd name="G27" fmla="*/ G26 1 56344"/>
              <a:gd name="G28" fmla="+- 360 0 0"/>
              <a:gd name="G29" fmla="+- 56344 0 0"/>
            </a:gdLst>
            <a:ahLst/>
            <a:cxnLst>
              <a:cxn ang="0">
                <a:pos x="0" y="0"/>
              </a:cxn>
              <a:cxn ang="0">
                <a:pos x="0" y="777240"/>
              </a:cxn>
            </a:cxnLst>
            <a:rect l="0" t="0" r="r" b="b"/>
            <a:pathLst>
              <a:path w="360" h="777240">
                <a:moveTo>
                  <a:pt x="0" y="0"/>
                </a:moveTo>
                <a:lnTo>
                  <a:pt x="0" y="777240"/>
                </a:lnTo>
              </a:path>
            </a:pathLst>
          </a:custGeom>
          <a:noFill/>
          <a:ln w="28440">
            <a:solidFill>
              <a:srgbClr val="F0AB00"/>
            </a:solidFill>
            <a:round/>
            <a:headEnd/>
            <a:tailEnd/>
          </a:ln>
          <a:effectLst/>
        </p:spPr>
        <p:txBody>
          <a:bodyPr wrap="none" anchor="ctr">
            <a:prstTxWarp prst="textNoShape">
              <a:avLst/>
            </a:prstTxWarp>
          </a:bodyPr>
          <a:lstStyle/>
          <a:p>
            <a:endParaRPr lang="de-CH"/>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withEffect">
                                  <p:stCondLst>
                                    <p:cond delay="0"/>
                                  </p:stCondLst>
                                  <p:childTnLst>
                                    <p:set>
                                      <p:cBhvr additive="repl">
                                        <p:cTn id="6" dur="1" fill="hold">
                                          <p:stCondLst>
                                            <p:cond delay="0"/>
                                          </p:stCondLst>
                                        </p:cTn>
                                        <p:tgtEl>
                                          <p:spTgt spid="14338"/>
                                        </p:tgtEl>
                                        <p:attrNameLst>
                                          <p:attrName>style.visibility</p:attrName>
                                        </p:attrNameLst>
                                      </p:cBhvr>
                                      <p:to>
                                        <p:strVal val="visible"/>
                                      </p:to>
                                    </p:set>
                                    <p:animEffect transition="in" filter="wipe(right)">
                                      <p:cBhvr additive="repl">
                                        <p:cTn id="7" dur="500"/>
                                        <p:tgtEl>
                                          <p:spTgt spid="14338"/>
                                        </p:tgtEl>
                                      </p:cBhvr>
                                    </p:animEffect>
                                  </p:childTnLst>
                                </p:cTn>
                              </p:par>
                            </p:childTnLst>
                          </p:cTn>
                        </p:par>
                        <p:par>
                          <p:cTn id="8" fill="hold">
                            <p:stCondLst>
                              <p:cond delay="0"/>
                            </p:stCondLst>
                            <p:childTnLst>
                              <p:par>
                                <p:cTn id="9" presetID="53" presetClass="entr" presetSubtype="16" fill="hold" nodeType="afterEffect">
                                  <p:stCondLst>
                                    <p:cond delay="0"/>
                                  </p:stCondLst>
                                  <p:childTnLst>
                                    <p:set>
                                      <p:cBhvr additive="repl">
                                        <p:cTn id="10" dur="1" fill="hold">
                                          <p:stCondLst>
                                            <p:cond delay="0"/>
                                          </p:stCondLst>
                                        </p:cTn>
                                        <p:tgtEl>
                                          <p:spTgt spid="14337"/>
                                        </p:tgtEl>
                                        <p:attrNameLst>
                                          <p:attrName>style.visibility</p:attrName>
                                        </p:attrNameLst>
                                      </p:cBhvr>
                                      <p:to>
                                        <p:strVal val="visible"/>
                                      </p:to>
                                    </p:set>
                                    <p:anim calcmode="lin" valueType="num">
                                      <p:cBhvr additive="repl">
                                        <p:cTn id="11" dur="500" fill="hold"/>
                                        <p:tgtEl>
                                          <p:spTgt spid="14337"/>
                                        </p:tgtEl>
                                        <p:attrNameLst>
                                          <p:attrName>ppt_w</p:attrName>
                                        </p:attrNameLst>
                                      </p:cBhvr>
                                      <p:tavLst>
                                        <p:tav tm="100000">
                                          <p:val>
                                            <p:fltVal val="0"/>
                                          </p:val>
                                        </p:tav>
                                        <p:tav tm="100000">
                                          <p:val>
                                            <p:strVal val="#ppt_w"/>
                                          </p:val>
                                        </p:tav>
                                      </p:tavLst>
                                    </p:anim>
                                    <p:anim calcmode="lin" valueType="num">
                                      <p:cBhvr additive="repl">
                                        <p:cTn id="12" dur="500" fill="hold"/>
                                        <p:tgtEl>
                                          <p:spTgt spid="14337"/>
                                        </p:tgtEl>
                                        <p:attrNameLst>
                                          <p:attrName>ppt_h</p:attrName>
                                        </p:attrNameLst>
                                      </p:cBhvr>
                                      <p:tavLst>
                                        <p:tav tm="100000">
                                          <p:val>
                                            <p:fltVal val="0"/>
                                          </p:val>
                                        </p:tav>
                                        <p:tav tm="100000">
                                          <p:val>
                                            <p:strVal val="#ppt_h"/>
                                          </p:val>
                                        </p:tav>
                                      </p:tavLst>
                                    </p:anim>
                                    <p:animEffect transition="in" filter="fade">
                                      <p:cBhvr additive="repl">
                                        <p:cTn id="13" dur="500"/>
                                        <p:tgtEl>
                                          <p:spTgt spid="14337"/>
                                        </p:tgtEl>
                                      </p:cBhvr>
                                    </p:animEffect>
                                  </p:childTnLst>
                                </p:cTn>
                              </p:par>
                            </p:childTnLst>
                          </p:cTn>
                        </p:par>
                        <p:par>
                          <p:cTn id="14" fill="hold">
                            <p:stCondLst>
                              <p:cond delay="0"/>
                            </p:stCondLst>
                            <p:childTnLst>
                              <p:par>
                                <p:cTn id="15" presetID="22" presetClass="entr" presetSubtype="1" fill="hold" grpId="0" nodeType="afterEffect">
                                  <p:stCondLst>
                                    <p:cond delay="0"/>
                                  </p:stCondLst>
                                  <p:childTnLst>
                                    <p:set>
                                      <p:cBhvr additive="repl">
                                        <p:cTn id="16" dur="1" fill="hold">
                                          <p:stCondLst>
                                            <p:cond delay="0"/>
                                          </p:stCondLst>
                                        </p:cTn>
                                        <p:tgtEl>
                                          <p:spTgt spid="14339"/>
                                        </p:tgtEl>
                                        <p:attrNameLst>
                                          <p:attrName>style.visibility</p:attrName>
                                        </p:attrNameLst>
                                      </p:cBhvr>
                                      <p:to>
                                        <p:strVal val="visible"/>
                                      </p:to>
                                    </p:set>
                                    <p:animEffect transition="in" filter="wipe(up)">
                                      <p:cBhvr additive="repl">
                                        <p:cTn id="17" dur="500"/>
                                        <p:tgtEl>
                                          <p:spTgt spid="143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38" grpId="0" animBg="1"/>
      <p:bldP spid="14339" grpId="0" animBg="1"/>
    </p:bld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361" name="Rectangle 1"/>
          <p:cNvSpPr>
            <a:spLocks noChangeArrowheads="1"/>
          </p:cNvSpPr>
          <p:nvPr/>
        </p:nvSpPr>
        <p:spPr bwMode="auto">
          <a:xfrm>
            <a:off x="1835150" y="1622425"/>
            <a:ext cx="5816600" cy="674688"/>
          </a:xfrm>
          <a:prstGeom prst="rect">
            <a:avLst/>
          </a:prstGeom>
          <a:solidFill>
            <a:srgbClr val="FFFFFF"/>
          </a:solidFill>
          <a:ln w="9525">
            <a:noFill/>
            <a:round/>
            <a:headEnd/>
            <a:tailEnd/>
          </a:ln>
          <a:effectLst/>
        </p:spPr>
        <p:txBody>
          <a:bodyPr lIns="90000" tIns="72000" rIns="90000" bIns="72000">
            <a:prstTxWarp prst="textNoShape">
              <a:avLst/>
            </a:prstTxWarp>
          </a:bodyPr>
          <a:lstStyle/>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 pos="3619500" algn="l"/>
                <a:tab pos="4343400" algn="l"/>
                <a:tab pos="5067300" algn="l"/>
                <a:tab pos="5791200" algn="l"/>
              </a:tabLst>
            </a:pPr>
            <a:r>
              <a:rPr lang="de-DE" sz="1200" dirty="0">
                <a:solidFill>
                  <a:srgbClr val="000000"/>
                </a:solidFill>
                <a:ea typeface="Arial Unicode MS" charset="0"/>
                <a:cs typeface="Arial Unicode MS" charset="0"/>
              </a:rPr>
              <a:t>Das Album Erneuerbare Energien wurde von Pascal </a:t>
            </a:r>
            <a:r>
              <a:rPr lang="de-DE" sz="1200" dirty="0" err="1">
                <a:solidFill>
                  <a:srgbClr val="000000"/>
                </a:solidFill>
                <a:ea typeface="Arial Unicode MS" charset="0"/>
                <a:cs typeface="Arial Unicode MS" charset="0"/>
              </a:rPr>
              <a:t>Fuhlbrügge</a:t>
            </a:r>
            <a:r>
              <a:rPr lang="de-DE" sz="1200" dirty="0">
                <a:solidFill>
                  <a:srgbClr val="000000"/>
                </a:solidFill>
                <a:ea typeface="Arial Unicode MS" charset="0"/>
                <a:cs typeface="Arial Unicode MS" charset="0"/>
              </a:rPr>
              <a:t> und Erneuerbare Energien im </a:t>
            </a:r>
            <a:r>
              <a:rPr lang="de-DE" sz="1200" b="1" dirty="0">
                <a:solidFill>
                  <a:srgbClr val="264283"/>
                </a:solidFill>
                <a:ea typeface="Arial Unicode MS" charset="0"/>
                <a:cs typeface="Arial Unicode MS" charset="0"/>
              </a:rPr>
              <a:t>Sandraum Nord mit Solarstrom produziert</a:t>
            </a:r>
          </a:p>
        </p:txBody>
      </p:sp>
      <p:sp>
        <p:nvSpPr>
          <p:cNvPr id="15362" name="Line 2"/>
          <p:cNvSpPr>
            <a:spLocks noChangeShapeType="1"/>
          </p:cNvSpPr>
          <p:nvPr/>
        </p:nvSpPr>
        <p:spPr bwMode="auto">
          <a:xfrm flipH="1">
            <a:off x="1833563" y="1419225"/>
            <a:ext cx="5619750" cy="1588"/>
          </a:xfrm>
          <a:prstGeom prst="line">
            <a:avLst/>
          </a:prstGeom>
          <a:noFill/>
          <a:ln w="9360">
            <a:solidFill>
              <a:srgbClr val="264283"/>
            </a:solidFill>
            <a:round/>
            <a:headEnd/>
            <a:tailEnd/>
          </a:ln>
          <a:effectLst/>
        </p:spPr>
        <p:txBody>
          <a:bodyPr>
            <a:prstTxWarp prst="textNoShape">
              <a:avLst/>
            </a:prstTxWarp>
          </a:bodyPr>
          <a:lstStyle/>
          <a:p>
            <a:endParaRPr lang="de-CH"/>
          </a:p>
        </p:txBody>
      </p:sp>
      <p:sp>
        <p:nvSpPr>
          <p:cNvPr id="15363" name="Rectangle 3"/>
          <p:cNvSpPr>
            <a:spLocks noChangeArrowheads="1"/>
          </p:cNvSpPr>
          <p:nvPr/>
        </p:nvSpPr>
        <p:spPr bwMode="auto">
          <a:xfrm>
            <a:off x="1835150" y="2573338"/>
            <a:ext cx="7027863" cy="1008062"/>
          </a:xfrm>
          <a:prstGeom prst="rect">
            <a:avLst/>
          </a:prstGeom>
          <a:solidFill>
            <a:srgbClr val="FFFFFF"/>
          </a:solidFill>
          <a:ln w="9525">
            <a:noFill/>
            <a:round/>
            <a:headEnd/>
            <a:tailEnd/>
          </a:ln>
          <a:effectLst/>
        </p:spPr>
        <p:txBody>
          <a:bodyPr lIns="90000" tIns="72000" rIns="90000" bIns="72000">
            <a:prstTxWarp prst="textNoShape">
              <a:avLst/>
            </a:prstTxWarp>
          </a:bodyPr>
          <a:lstStyle/>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 pos="3619500" algn="l"/>
                <a:tab pos="4343400" algn="l"/>
                <a:tab pos="5067300" algn="l"/>
                <a:tab pos="5791200" algn="l"/>
                <a:tab pos="6515100" algn="l"/>
              </a:tabLst>
            </a:pPr>
            <a:r>
              <a:rPr lang="de-DE" sz="1200">
                <a:solidFill>
                  <a:srgbClr val="000000"/>
                </a:solidFill>
                <a:ea typeface="Arial Unicode MS" charset="0"/>
                <a:cs typeface="Arial Unicode MS" charset="0"/>
              </a:rPr>
              <a:t>Zwei der Videos zur Platte entstehen in Zusammenarbeit mit </a:t>
            </a:r>
            <a:r>
              <a:rPr lang="de-DE" sz="1200" b="1">
                <a:solidFill>
                  <a:srgbClr val="007DC3"/>
                </a:solidFill>
                <a:ea typeface="Arial Unicode MS" charset="0"/>
                <a:cs typeface="Arial Unicode MS" charset="0"/>
              </a:rPr>
              <a:t>Timo Schierhorn </a:t>
            </a:r>
            <a:r>
              <a:rPr lang="de-DE" sz="1200">
                <a:solidFill>
                  <a:srgbClr val="000000"/>
                </a:solidFill>
                <a:ea typeface="Arial Unicode MS" charset="0"/>
                <a:cs typeface="Arial Unicode MS" charset="0"/>
              </a:rPr>
              <a:t>(Auge Altona), der sich mit Videos für Deichkind, Die Goldenen Zitronen oder Die Vögel einen Namen gemacht hat und zuletzt die Visuals für Jarvis Cockers und Chilly Gonzales' Stück „Room 29“ kreierte.</a:t>
            </a: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 pos="3619500" algn="l"/>
                <a:tab pos="4343400" algn="l"/>
                <a:tab pos="5067300" algn="l"/>
                <a:tab pos="5791200" algn="l"/>
                <a:tab pos="6515100" algn="l"/>
              </a:tabLst>
            </a:pPr>
            <a:r>
              <a:rPr lang="de-DE" sz="1200">
                <a:solidFill>
                  <a:srgbClr val="000000"/>
                </a:solidFill>
                <a:ea typeface="Arial Unicode MS" charset="0"/>
                <a:cs typeface="Arial Unicode MS" charset="0"/>
              </a:rPr>
              <a:t>Der Hamburger Künstler </a:t>
            </a:r>
            <a:r>
              <a:rPr lang="de-DE" sz="1200" b="1">
                <a:solidFill>
                  <a:srgbClr val="007DC3"/>
                </a:solidFill>
                <a:ea typeface="Arial Unicode MS" charset="0"/>
                <a:cs typeface="Arial Unicode MS" charset="0"/>
              </a:rPr>
              <a:t>1010</a:t>
            </a:r>
            <a:r>
              <a:rPr lang="de-DE" sz="1200">
                <a:solidFill>
                  <a:srgbClr val="000000"/>
                </a:solidFill>
                <a:ea typeface="Arial Unicode MS" charset="0"/>
                <a:cs typeface="Arial Unicode MS" charset="0"/>
              </a:rPr>
              <a:t> hat exklusives Artwork für Erneuerbare Energien gestaltet</a:t>
            </a:r>
          </a:p>
        </p:txBody>
      </p:sp>
      <p:sp>
        <p:nvSpPr>
          <p:cNvPr id="15364" name="Line 4"/>
          <p:cNvSpPr>
            <a:spLocks noChangeShapeType="1"/>
          </p:cNvSpPr>
          <p:nvPr/>
        </p:nvSpPr>
        <p:spPr bwMode="auto">
          <a:xfrm flipH="1">
            <a:off x="1833563" y="2571750"/>
            <a:ext cx="5619750" cy="1588"/>
          </a:xfrm>
          <a:prstGeom prst="line">
            <a:avLst/>
          </a:prstGeom>
          <a:noFill/>
          <a:ln w="9360">
            <a:solidFill>
              <a:srgbClr val="007DC3"/>
            </a:solidFill>
            <a:round/>
            <a:headEnd/>
            <a:tailEnd/>
          </a:ln>
          <a:effectLst/>
        </p:spPr>
        <p:txBody>
          <a:bodyPr>
            <a:prstTxWarp prst="textNoShape">
              <a:avLst/>
            </a:prstTxWarp>
          </a:bodyPr>
          <a:lstStyle/>
          <a:p>
            <a:endParaRPr lang="de-CH"/>
          </a:p>
        </p:txBody>
      </p:sp>
      <p:sp>
        <p:nvSpPr>
          <p:cNvPr id="15365" name="Rectangle 5"/>
          <p:cNvSpPr>
            <a:spLocks noChangeArrowheads="1"/>
          </p:cNvSpPr>
          <p:nvPr/>
        </p:nvSpPr>
        <p:spPr bwMode="auto">
          <a:xfrm>
            <a:off x="1835150" y="3660775"/>
            <a:ext cx="3332163" cy="1008063"/>
          </a:xfrm>
          <a:prstGeom prst="rect">
            <a:avLst/>
          </a:prstGeom>
          <a:solidFill>
            <a:srgbClr val="FFFFFF"/>
          </a:solidFill>
          <a:ln w="9525">
            <a:noFill/>
            <a:round/>
            <a:headEnd/>
            <a:tailEnd/>
          </a:ln>
          <a:effectLst/>
        </p:spPr>
        <p:txBody>
          <a:bodyPr lIns="90000" tIns="72000" rIns="90000" bIns="72000">
            <a:prstTxWarp prst="textNoShape">
              <a:avLst/>
            </a:prstTxWarp>
          </a:bodyPr>
          <a:lstStyle/>
          <a:p>
            <a:pPr hangingPunct="1">
              <a:lnSpc>
                <a:spcPct val="100000"/>
              </a:lnSpc>
              <a:spcBef>
                <a:spcPts val="300"/>
              </a:spcBef>
              <a:tabLst>
                <a:tab pos="723900" algn="l"/>
                <a:tab pos="1447800" algn="l"/>
                <a:tab pos="2171700" algn="l"/>
                <a:tab pos="2895600" algn="l"/>
              </a:tabLst>
            </a:pPr>
            <a:endParaRPr lang="de-DE" sz="1200" dirty="0">
              <a:solidFill>
                <a:srgbClr val="000000"/>
              </a:solidFill>
              <a:ea typeface="Arial Unicode MS" charset="0"/>
              <a:cs typeface="Arial Unicode MS" charset="0"/>
            </a:endParaRP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Lst>
            </a:pPr>
            <a:r>
              <a:rPr lang="de-DE" sz="1200" dirty="0">
                <a:solidFill>
                  <a:srgbClr val="000000"/>
                </a:solidFill>
                <a:ea typeface="Arial Unicode MS" charset="0"/>
                <a:cs typeface="Arial Unicode MS" charset="0"/>
              </a:rPr>
              <a:t>Stephan Rath </a:t>
            </a:r>
            <a:r>
              <a:rPr lang="de-DE" sz="1200" u="sng" dirty="0">
                <a:solidFill>
                  <a:schemeClr val="accent6"/>
                </a:solidFill>
                <a:ea typeface="Arial Unicode MS" charset="0"/>
                <a:cs typeface="Arial Unicode MS" charset="0"/>
                <a:hlinkClick r:id="rId6"/>
              </a:rPr>
              <a:t>stephan@soulsville.de</a:t>
            </a: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Lst>
            </a:pPr>
            <a:r>
              <a:rPr lang="de-DE" sz="1200" dirty="0">
                <a:solidFill>
                  <a:schemeClr val="accent6"/>
                </a:solidFill>
                <a:ea typeface="Arial Unicode MS" charset="0"/>
                <a:cs typeface="Arial Unicode MS" charset="0"/>
                <a:hlinkClick r:id="rId7"/>
              </a:rPr>
              <a:t>www.erneuerbareenergien.biz</a:t>
            </a: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Lst>
            </a:pPr>
            <a:r>
              <a:rPr lang="de-DE" sz="1200" dirty="0">
                <a:solidFill>
                  <a:schemeClr val="accent6"/>
                </a:solidFill>
                <a:ea typeface="Arial Unicode MS" charset="0"/>
                <a:cs typeface="Arial Unicode MS" charset="0"/>
                <a:hlinkClick r:id="rId8"/>
              </a:rPr>
              <a:t>www.hand11.net</a:t>
            </a:r>
            <a:r>
              <a:rPr lang="de-DE" sz="1200" dirty="0">
                <a:solidFill>
                  <a:schemeClr val="accent6"/>
                </a:solidFill>
                <a:ea typeface="Arial Unicode MS" charset="0"/>
                <a:cs typeface="Arial Unicode MS" charset="0"/>
              </a:rPr>
              <a:t> </a:t>
            </a:r>
          </a:p>
          <a:p>
            <a:pPr hangingPunct="1">
              <a:lnSpc>
                <a:spcPct val="100000"/>
              </a:lnSpc>
              <a:spcBef>
                <a:spcPts val="300"/>
              </a:spcBef>
              <a:buClrTx/>
              <a:buSzTx/>
              <a:buFontTx/>
              <a:buNone/>
              <a:tabLst>
                <a:tab pos="723900" algn="l"/>
                <a:tab pos="1447800" algn="l"/>
                <a:tab pos="2171700" algn="l"/>
                <a:tab pos="2895600" algn="l"/>
              </a:tabLst>
            </a:pPr>
            <a:endParaRPr lang="de-DE" sz="1200" dirty="0">
              <a:solidFill>
                <a:srgbClr val="000000"/>
              </a:solidFill>
              <a:ea typeface="Arial Unicode MS" charset="0"/>
              <a:cs typeface="Arial Unicode MS" charset="0"/>
            </a:endParaRPr>
          </a:p>
        </p:txBody>
      </p:sp>
      <p:sp>
        <p:nvSpPr>
          <p:cNvPr id="15366" name="Line 6"/>
          <p:cNvSpPr>
            <a:spLocks noChangeShapeType="1"/>
          </p:cNvSpPr>
          <p:nvPr/>
        </p:nvSpPr>
        <p:spPr bwMode="auto">
          <a:xfrm flipH="1">
            <a:off x="1833563" y="3724275"/>
            <a:ext cx="5619750" cy="1588"/>
          </a:xfrm>
          <a:prstGeom prst="line">
            <a:avLst/>
          </a:prstGeom>
          <a:noFill/>
          <a:ln w="9360">
            <a:solidFill>
              <a:srgbClr val="A2AD00"/>
            </a:solidFill>
            <a:round/>
            <a:headEnd/>
            <a:tailEnd/>
          </a:ln>
          <a:effectLst/>
        </p:spPr>
        <p:txBody>
          <a:bodyPr>
            <a:prstTxWarp prst="textNoShape">
              <a:avLst/>
            </a:prstTxWarp>
          </a:bodyPr>
          <a:lstStyle/>
          <a:p>
            <a:endParaRPr lang="de-CH"/>
          </a:p>
        </p:txBody>
      </p:sp>
      <p:sp>
        <p:nvSpPr>
          <p:cNvPr id="15367" name="Text Box 7"/>
          <p:cNvSpPr txBox="1">
            <a:spLocks noChangeArrowheads="1"/>
          </p:cNvSpPr>
          <p:nvPr/>
        </p:nvSpPr>
        <p:spPr bwMode="auto">
          <a:xfrm>
            <a:off x="258763" y="195263"/>
            <a:ext cx="5597525" cy="576262"/>
          </a:xfrm>
          <a:prstGeom prst="rect">
            <a:avLst/>
          </a:prstGeom>
          <a:noFill/>
          <a:ln w="9525">
            <a:noFill/>
            <a:round/>
            <a:headEnd/>
            <a:tailEnd/>
          </a:ln>
          <a:effectLst/>
        </p:spPr>
        <p:txBody>
          <a:bodyPr lIns="90000" tIns="45000" rIns="90000" bIns="45000">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Lst>
            </a:pPr>
            <a:r>
              <a:rPr lang="en-US">
                <a:solidFill>
                  <a:srgbClr val="000000"/>
                </a:solidFill>
                <a:ea typeface="Arial Unicode MS" charset="0"/>
                <a:cs typeface="Arial Unicode MS" charset="0"/>
              </a:rPr>
              <a:t>Credits</a:t>
            </a:r>
          </a:p>
        </p:txBody>
      </p:sp>
      <p:sp>
        <p:nvSpPr>
          <p:cNvPr id="15368" name="Rectangle 8"/>
          <p:cNvSpPr>
            <a:spLocks noChangeArrowheads="1"/>
          </p:cNvSpPr>
          <p:nvPr/>
        </p:nvSpPr>
        <p:spPr bwMode="auto">
          <a:xfrm>
            <a:off x="323850" y="1419225"/>
            <a:ext cx="1439863" cy="1008063"/>
          </a:xfrm>
          <a:prstGeom prst="rect">
            <a:avLst/>
          </a:prstGeom>
          <a:solidFill>
            <a:srgbClr val="264283"/>
          </a:solidFill>
          <a:ln w="9360">
            <a:noFill/>
            <a:round/>
            <a:headEnd/>
            <a:tailEnd/>
          </a:ln>
          <a:effectLst/>
        </p:spPr>
        <p:txBody>
          <a:bodyPr tIns="72000" bIns="72000">
            <a:prstTxWarp prst="textNoShape">
              <a:avLst/>
            </a:prstTxWarp>
          </a:bodyPr>
          <a:lstStyle/>
          <a:p>
            <a:pPr hangingPunct="1">
              <a:lnSpc>
                <a:spcPct val="100000"/>
              </a:lnSpc>
              <a:tabLst>
                <a:tab pos="723900" algn="l"/>
              </a:tabLst>
            </a:pPr>
            <a:r>
              <a:rPr lang="de-DE" sz="1600" dirty="0" smtClean="0">
                <a:solidFill>
                  <a:srgbClr val="FFFFFF"/>
                </a:solidFill>
                <a:ea typeface="Arial Unicode MS" charset="0"/>
                <a:cs typeface="Arial Unicode MS" charset="0"/>
              </a:rPr>
              <a:t>Produktion</a:t>
            </a:r>
            <a:endParaRPr lang="de-DE" sz="1600" dirty="0">
              <a:solidFill>
                <a:srgbClr val="FFFFFF"/>
              </a:solidFill>
              <a:ea typeface="Arial Unicode MS" charset="0"/>
              <a:cs typeface="Arial Unicode MS" charset="0"/>
            </a:endParaRPr>
          </a:p>
        </p:txBody>
      </p:sp>
      <p:sp>
        <p:nvSpPr>
          <p:cNvPr id="15369" name="Rectangle 9"/>
          <p:cNvSpPr>
            <a:spLocks noChangeArrowheads="1"/>
          </p:cNvSpPr>
          <p:nvPr/>
        </p:nvSpPr>
        <p:spPr bwMode="auto">
          <a:xfrm>
            <a:off x="323850" y="2573338"/>
            <a:ext cx="1439863" cy="1008062"/>
          </a:xfrm>
          <a:prstGeom prst="rect">
            <a:avLst/>
          </a:prstGeom>
          <a:solidFill>
            <a:srgbClr val="007DC3"/>
          </a:solidFill>
          <a:ln w="9360">
            <a:noFill/>
            <a:round/>
            <a:headEnd/>
            <a:tailEnd/>
          </a:ln>
          <a:effectLst/>
        </p:spPr>
        <p:txBody>
          <a:bodyPr tIns="72000" bIns="72000">
            <a:prstTxWarp prst="textNoShape">
              <a:avLst/>
            </a:prstTxWarp>
          </a:bodyPr>
          <a:lstStyle/>
          <a:p>
            <a:pPr hangingPunct="1">
              <a:lnSpc>
                <a:spcPct val="100000"/>
              </a:lnSpc>
              <a:tabLst>
                <a:tab pos="723900" algn="l"/>
              </a:tabLst>
            </a:pPr>
            <a:r>
              <a:rPr lang="de-DE" sz="1600">
                <a:solidFill>
                  <a:srgbClr val="FFFFFF"/>
                </a:solidFill>
                <a:ea typeface="Arial Unicode MS" charset="0"/>
                <a:cs typeface="Arial Unicode MS" charset="0"/>
              </a:rPr>
              <a:t>Video &amp; </a:t>
            </a:r>
            <a:br>
              <a:rPr lang="de-DE" sz="1600">
                <a:solidFill>
                  <a:srgbClr val="FFFFFF"/>
                </a:solidFill>
                <a:ea typeface="Arial Unicode MS" charset="0"/>
                <a:cs typeface="Arial Unicode MS" charset="0"/>
              </a:rPr>
            </a:br>
            <a:r>
              <a:rPr lang="de-DE" sz="1600">
                <a:solidFill>
                  <a:srgbClr val="FFFFFF"/>
                </a:solidFill>
                <a:ea typeface="Arial Unicode MS" charset="0"/>
                <a:cs typeface="Arial Unicode MS" charset="0"/>
              </a:rPr>
              <a:t>Artwork</a:t>
            </a:r>
          </a:p>
        </p:txBody>
      </p:sp>
      <p:sp>
        <p:nvSpPr>
          <p:cNvPr id="15370" name="Rectangle 10"/>
          <p:cNvSpPr>
            <a:spLocks noChangeArrowheads="1"/>
          </p:cNvSpPr>
          <p:nvPr/>
        </p:nvSpPr>
        <p:spPr bwMode="auto">
          <a:xfrm>
            <a:off x="323850" y="3724275"/>
            <a:ext cx="1439863" cy="1008063"/>
          </a:xfrm>
          <a:prstGeom prst="rect">
            <a:avLst/>
          </a:prstGeom>
          <a:solidFill>
            <a:srgbClr val="A2AD00"/>
          </a:solidFill>
          <a:ln w="9360">
            <a:noFill/>
            <a:round/>
            <a:headEnd/>
            <a:tailEnd/>
          </a:ln>
          <a:effectLst/>
        </p:spPr>
        <p:txBody>
          <a:bodyPr tIns="72000" bIns="72000">
            <a:prstTxWarp prst="textNoShape">
              <a:avLst/>
            </a:prstTxWarp>
          </a:bodyPr>
          <a:lstStyle/>
          <a:p>
            <a:pPr hangingPunct="1">
              <a:lnSpc>
                <a:spcPct val="100000"/>
              </a:lnSpc>
              <a:tabLst>
                <a:tab pos="723900" algn="l"/>
              </a:tabLst>
            </a:pPr>
            <a:r>
              <a:rPr lang="de-DE" sz="1600" dirty="0" smtClean="0">
                <a:solidFill>
                  <a:srgbClr val="FFFFFF"/>
                </a:solidFill>
                <a:ea typeface="Arial Unicode MS" charset="0"/>
                <a:cs typeface="Arial Unicode MS" charset="0"/>
              </a:rPr>
              <a:t>Kontakt &amp; Vertrieb</a:t>
            </a:r>
            <a:endParaRPr lang="de-DE" sz="1600" dirty="0">
              <a:solidFill>
                <a:srgbClr val="FFFFFF"/>
              </a:solidFill>
              <a:ea typeface="Arial Unicode MS" charset="0"/>
              <a:cs typeface="Arial Unicode MS" charset="0"/>
            </a:endParaRPr>
          </a:p>
        </p:txBody>
      </p:sp>
      <p:grpSp>
        <p:nvGrpSpPr>
          <p:cNvPr id="15372" name="Group 12"/>
          <p:cNvGrpSpPr>
            <a:grpSpLocks/>
          </p:cNvGrpSpPr>
          <p:nvPr/>
        </p:nvGrpSpPr>
        <p:grpSpPr bwMode="auto">
          <a:xfrm>
            <a:off x="1135063" y="4300538"/>
            <a:ext cx="488950" cy="357187"/>
            <a:chOff x="715" y="2709"/>
            <a:chExt cx="308" cy="225"/>
          </a:xfrm>
        </p:grpSpPr>
      </p:grpSp>
      <p:sp>
        <p:nvSpPr>
          <p:cNvPr id="15376" name="Rectangle 16"/>
          <p:cNvSpPr>
            <a:spLocks noChangeArrowheads="1"/>
          </p:cNvSpPr>
          <p:nvPr/>
        </p:nvSpPr>
        <p:spPr bwMode="auto">
          <a:xfrm>
            <a:off x="5045075" y="436563"/>
            <a:ext cx="576263" cy="244475"/>
          </a:xfrm>
          <a:prstGeom prst="rect">
            <a:avLst/>
          </a:prstGeom>
          <a:noFill/>
          <a:ln w="9525">
            <a:noFill/>
            <a:round/>
            <a:headEnd/>
            <a:tailEnd/>
          </a:ln>
          <a:effectLst/>
        </p:spPr>
        <p:txBody>
          <a:bodyPr lIns="0" tIns="0" rIns="0" bIns="0">
            <a:prstTxWarp prst="textNoShape">
              <a:avLst/>
            </a:prstTxWarp>
            <a:spAutoFit/>
          </a:bodyPr>
          <a:lstStyle/>
          <a:p>
            <a:pPr hangingPunct="1">
              <a:lnSpc>
                <a:spcPct val="100000"/>
              </a:lnSpc>
              <a:spcBef>
                <a:spcPts val="300"/>
              </a:spcBef>
            </a:pPr>
            <a:r>
              <a:rPr lang="de-DE" sz="1600">
                <a:solidFill>
                  <a:srgbClr val="FFFFFF"/>
                </a:solidFill>
                <a:ea typeface="Arial Unicode MS" charset="0"/>
                <a:cs typeface="Arial Unicode MS" charset="0"/>
              </a:rPr>
              <a:t>Philip</a:t>
            </a:r>
          </a:p>
        </p:txBody>
      </p:sp>
      <p:sp>
        <p:nvSpPr>
          <p:cNvPr id="14" name="Inhaltsplatzhalter 7"/>
          <p:cNvSpPr txBox="1">
            <a:spLocks/>
          </p:cNvSpPr>
          <p:nvPr>
            <p:custDataLst>
              <p:tags r:id="rId1"/>
            </p:custDataLst>
          </p:nvPr>
        </p:nvSpPr>
        <p:spPr bwMode="gray">
          <a:xfrm>
            <a:off x="1835697" y="1622998"/>
            <a:ext cx="5816875" cy="675702"/>
          </a:xfrm>
          <a:prstGeom prst="rect">
            <a:avLst/>
          </a:prstGeom>
          <a:solidFill>
            <a:schemeClr val="bg1"/>
          </a:solidFill>
          <a:ln>
            <a:noFill/>
          </a:ln>
          <a:effectLst/>
        </p:spPr>
        <p:txBody>
          <a:bodyPr lIns="90000" tIns="72000" rIns="90000" bIns="720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buFont typeface="Wingdings" panose="05000000000000000000" pitchFamily="2" charset="2"/>
              <a:buChar char="§"/>
            </a:pPr>
            <a:r>
              <a:rPr lang="en-US" sz="1200" dirty="0" smtClean="0">
                <a:latin typeface="Arial" pitchFamily="34" charset="0"/>
              </a:rPr>
              <a:t>Das Album </a:t>
            </a:r>
            <a:r>
              <a:rPr lang="en-US" sz="1200" dirty="0" err="1" smtClean="0">
                <a:latin typeface="Arial" pitchFamily="34" charset="0"/>
              </a:rPr>
              <a:t>Erneuerbare</a:t>
            </a:r>
            <a:r>
              <a:rPr lang="en-US" sz="1200" dirty="0" smtClean="0">
                <a:latin typeface="Arial" pitchFamily="34" charset="0"/>
              </a:rPr>
              <a:t> </a:t>
            </a:r>
            <a:r>
              <a:rPr lang="en-US" sz="1200" dirty="0" err="1" smtClean="0">
                <a:latin typeface="Arial" pitchFamily="34" charset="0"/>
              </a:rPr>
              <a:t>Energien</a:t>
            </a:r>
            <a:r>
              <a:rPr lang="en-US" sz="1200" dirty="0" smtClean="0">
                <a:latin typeface="Arial" pitchFamily="34" charset="0"/>
              </a:rPr>
              <a:t> </a:t>
            </a:r>
            <a:r>
              <a:rPr lang="en-US" sz="1200" dirty="0" err="1" smtClean="0">
                <a:latin typeface="Arial" pitchFamily="34" charset="0"/>
              </a:rPr>
              <a:t>wurde</a:t>
            </a:r>
            <a:r>
              <a:rPr lang="en-US" sz="1200" dirty="0" smtClean="0">
                <a:latin typeface="Arial" pitchFamily="34" charset="0"/>
              </a:rPr>
              <a:t> von Pascal </a:t>
            </a:r>
            <a:r>
              <a:rPr lang="en-US" sz="1200" dirty="0" err="1" smtClean="0">
                <a:latin typeface="Arial" pitchFamily="34" charset="0"/>
              </a:rPr>
              <a:t>Fuhlbrügge</a:t>
            </a:r>
            <a:r>
              <a:rPr lang="en-US" sz="1200" dirty="0" smtClean="0">
                <a:latin typeface="Arial" pitchFamily="34" charset="0"/>
              </a:rPr>
              <a:t> und </a:t>
            </a:r>
            <a:r>
              <a:rPr lang="en-US" sz="1200" dirty="0" err="1" smtClean="0">
                <a:latin typeface="Arial" pitchFamily="34" charset="0"/>
              </a:rPr>
              <a:t>Erneuerbare</a:t>
            </a:r>
            <a:r>
              <a:rPr lang="en-US" sz="1200" dirty="0" smtClean="0">
                <a:latin typeface="Arial" pitchFamily="34" charset="0"/>
              </a:rPr>
              <a:t> </a:t>
            </a:r>
            <a:r>
              <a:rPr lang="en-US" sz="1200" dirty="0" err="1" smtClean="0">
                <a:latin typeface="Arial" pitchFamily="34" charset="0"/>
              </a:rPr>
              <a:t>Energien</a:t>
            </a:r>
            <a:r>
              <a:rPr lang="en-US" sz="1200" dirty="0" smtClean="0">
                <a:latin typeface="Arial" pitchFamily="34" charset="0"/>
              </a:rPr>
              <a:t> </a:t>
            </a:r>
            <a:r>
              <a:rPr lang="en-US" sz="1200" dirty="0" err="1" smtClean="0">
                <a:latin typeface="Arial" pitchFamily="34" charset="0"/>
              </a:rPr>
              <a:t>im</a:t>
            </a:r>
            <a:r>
              <a:rPr lang="en-US" sz="1200" dirty="0" smtClean="0">
                <a:latin typeface="Arial" pitchFamily="34" charset="0"/>
              </a:rPr>
              <a:t> </a:t>
            </a:r>
            <a:r>
              <a:rPr lang="en-US" sz="1200" b="1" dirty="0" err="1" smtClean="0">
                <a:solidFill>
                  <a:schemeClr val="accent6">
                    <a:lumMod val="75000"/>
                  </a:schemeClr>
                </a:solidFill>
                <a:latin typeface="Arial" pitchFamily="34" charset="0"/>
              </a:rPr>
              <a:t>Sandraum</a:t>
            </a:r>
            <a:r>
              <a:rPr lang="en-US" sz="1200" b="1" dirty="0" smtClean="0">
                <a:solidFill>
                  <a:schemeClr val="accent6">
                    <a:lumMod val="75000"/>
                  </a:schemeClr>
                </a:solidFill>
                <a:latin typeface="Arial" pitchFamily="34" charset="0"/>
              </a:rPr>
              <a:t> Nord </a:t>
            </a:r>
            <a:r>
              <a:rPr lang="en-US" sz="1200" b="1" dirty="0" err="1" smtClean="0">
                <a:solidFill>
                  <a:schemeClr val="accent6">
                    <a:lumMod val="75000"/>
                  </a:schemeClr>
                </a:solidFill>
                <a:latin typeface="Arial" pitchFamily="34" charset="0"/>
              </a:rPr>
              <a:t>mit</a:t>
            </a:r>
            <a:r>
              <a:rPr lang="en-US" sz="1200" b="1" dirty="0" smtClean="0">
                <a:solidFill>
                  <a:schemeClr val="accent6">
                    <a:lumMod val="75000"/>
                  </a:schemeClr>
                </a:solidFill>
                <a:latin typeface="Arial" pitchFamily="34" charset="0"/>
              </a:rPr>
              <a:t> </a:t>
            </a:r>
            <a:r>
              <a:rPr lang="en-US" sz="1200" b="1" dirty="0" err="1" smtClean="0">
                <a:solidFill>
                  <a:schemeClr val="accent6">
                    <a:lumMod val="75000"/>
                  </a:schemeClr>
                </a:solidFill>
                <a:latin typeface="Arial" pitchFamily="34" charset="0"/>
              </a:rPr>
              <a:t>Solarstrom</a:t>
            </a:r>
            <a:r>
              <a:rPr lang="en-US" sz="1200" b="1" dirty="0" smtClean="0">
                <a:solidFill>
                  <a:schemeClr val="accent6">
                    <a:lumMod val="75000"/>
                  </a:schemeClr>
                </a:solidFill>
                <a:latin typeface="Arial" pitchFamily="34" charset="0"/>
              </a:rPr>
              <a:t> </a:t>
            </a:r>
            <a:r>
              <a:rPr lang="en-US" sz="1200" b="1" dirty="0" err="1" smtClean="0">
                <a:solidFill>
                  <a:schemeClr val="accent6">
                    <a:lumMod val="75000"/>
                  </a:schemeClr>
                </a:solidFill>
                <a:latin typeface="Arial" pitchFamily="34" charset="0"/>
              </a:rPr>
              <a:t>produziert</a:t>
            </a:r>
            <a:endParaRPr lang="en-US" sz="1200" dirty="0" smtClean="0">
              <a:solidFill>
                <a:schemeClr val="accent6">
                  <a:lumMod val="75000"/>
                </a:schemeClr>
              </a:solidFill>
              <a:latin typeface="Arial" pitchFamily="34" charset="0"/>
            </a:endParaRPr>
          </a:p>
        </p:txBody>
      </p:sp>
      <p:sp>
        <p:nvSpPr>
          <p:cNvPr id="15" name="Inhaltsplatzhalter 7"/>
          <p:cNvSpPr txBox="1">
            <a:spLocks/>
          </p:cNvSpPr>
          <p:nvPr>
            <p:custDataLst>
              <p:tags r:id="rId2"/>
            </p:custDataLst>
          </p:nvPr>
        </p:nvSpPr>
        <p:spPr bwMode="gray">
          <a:xfrm>
            <a:off x="1835696" y="2571750"/>
            <a:ext cx="7028904" cy="1007490"/>
          </a:xfrm>
          <a:prstGeom prst="rect">
            <a:avLst/>
          </a:prstGeom>
          <a:solidFill>
            <a:schemeClr val="bg1"/>
          </a:solidFill>
          <a:ln>
            <a:noFill/>
          </a:ln>
          <a:effectLst/>
        </p:spPr>
        <p:txBody>
          <a:bodyPr lIns="90000" tIns="72000" rIns="90000" bIns="720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buFont typeface="Wingdings" panose="05000000000000000000" pitchFamily="2" charset="2"/>
              <a:buChar char="§"/>
            </a:pPr>
            <a:r>
              <a:rPr lang="en-US" sz="1200" dirty="0" err="1" smtClean="0">
                <a:latin typeface="Arial" pitchFamily="34" charset="0"/>
              </a:rPr>
              <a:t>Zwei</a:t>
            </a:r>
            <a:r>
              <a:rPr lang="en-US" sz="1200" dirty="0" smtClean="0">
                <a:latin typeface="Arial" pitchFamily="34" charset="0"/>
              </a:rPr>
              <a:t> </a:t>
            </a:r>
            <a:r>
              <a:rPr lang="en-US" sz="1200" dirty="0" err="1" smtClean="0">
                <a:latin typeface="Arial" pitchFamily="34" charset="0"/>
              </a:rPr>
              <a:t>der</a:t>
            </a:r>
            <a:r>
              <a:rPr lang="en-US" sz="1200" dirty="0" smtClean="0">
                <a:latin typeface="Arial" pitchFamily="34" charset="0"/>
              </a:rPr>
              <a:t> Videos </a:t>
            </a:r>
            <a:r>
              <a:rPr lang="en-US" sz="1200" dirty="0" err="1" smtClean="0">
                <a:latin typeface="Arial" pitchFamily="34" charset="0"/>
              </a:rPr>
              <a:t>zur</a:t>
            </a:r>
            <a:r>
              <a:rPr lang="en-US" sz="1200" dirty="0" smtClean="0">
                <a:latin typeface="Arial" pitchFamily="34" charset="0"/>
              </a:rPr>
              <a:t> Platte </a:t>
            </a:r>
            <a:r>
              <a:rPr lang="en-US" sz="1200" dirty="0" err="1" smtClean="0">
                <a:latin typeface="Arial" pitchFamily="34" charset="0"/>
              </a:rPr>
              <a:t>entstehen</a:t>
            </a:r>
            <a:r>
              <a:rPr lang="en-US" sz="1200" dirty="0" smtClean="0">
                <a:latin typeface="Arial" pitchFamily="34" charset="0"/>
              </a:rPr>
              <a:t> in </a:t>
            </a:r>
            <a:r>
              <a:rPr lang="en-US" sz="1200" dirty="0" err="1" smtClean="0">
                <a:latin typeface="Arial" pitchFamily="34" charset="0"/>
              </a:rPr>
              <a:t>Zusammenarbeit</a:t>
            </a:r>
            <a:r>
              <a:rPr lang="en-US" sz="1200" dirty="0" smtClean="0">
                <a:latin typeface="Arial" pitchFamily="34" charset="0"/>
              </a:rPr>
              <a:t> </a:t>
            </a:r>
            <a:r>
              <a:rPr lang="en-US" sz="1200" dirty="0" err="1" smtClean="0">
                <a:latin typeface="Arial" pitchFamily="34" charset="0"/>
              </a:rPr>
              <a:t>mit</a:t>
            </a:r>
            <a:r>
              <a:rPr lang="en-US" sz="1200" dirty="0" smtClean="0">
                <a:latin typeface="Arial" pitchFamily="34" charset="0"/>
              </a:rPr>
              <a:t> </a:t>
            </a:r>
            <a:r>
              <a:rPr lang="en-US" sz="1200" b="1" dirty="0" err="1" smtClean="0">
                <a:solidFill>
                  <a:schemeClr val="accent2"/>
                </a:solidFill>
                <a:latin typeface="Arial" pitchFamily="34" charset="0"/>
              </a:rPr>
              <a:t>Timo</a:t>
            </a:r>
            <a:r>
              <a:rPr lang="en-US" sz="1200" b="1" dirty="0" smtClean="0">
                <a:solidFill>
                  <a:schemeClr val="accent2"/>
                </a:solidFill>
                <a:latin typeface="Arial" pitchFamily="34" charset="0"/>
              </a:rPr>
              <a:t> </a:t>
            </a:r>
            <a:r>
              <a:rPr lang="en-US" sz="1200" b="1" dirty="0" err="1" smtClean="0">
                <a:solidFill>
                  <a:schemeClr val="accent2"/>
                </a:solidFill>
                <a:latin typeface="Arial" pitchFamily="34" charset="0"/>
              </a:rPr>
              <a:t>Schierhorn</a:t>
            </a:r>
            <a:r>
              <a:rPr lang="en-US" sz="1200" b="1" dirty="0" smtClean="0">
                <a:solidFill>
                  <a:schemeClr val="accent2"/>
                </a:solidFill>
                <a:latin typeface="Arial" pitchFamily="34" charset="0"/>
              </a:rPr>
              <a:t> </a:t>
            </a:r>
            <a:r>
              <a:rPr lang="en-US" sz="1200" dirty="0" smtClean="0">
                <a:latin typeface="Arial" pitchFamily="34" charset="0"/>
              </a:rPr>
              <a:t>(</a:t>
            </a:r>
            <a:r>
              <a:rPr lang="en-US" sz="1200" dirty="0" err="1" smtClean="0">
                <a:latin typeface="Arial" pitchFamily="34" charset="0"/>
              </a:rPr>
              <a:t>Auge</a:t>
            </a:r>
            <a:r>
              <a:rPr lang="en-US" sz="1200" dirty="0" smtClean="0">
                <a:latin typeface="Arial" pitchFamily="34" charset="0"/>
              </a:rPr>
              <a:t> </a:t>
            </a:r>
            <a:r>
              <a:rPr lang="en-US" sz="1200" dirty="0" err="1" smtClean="0">
                <a:latin typeface="Arial" pitchFamily="34" charset="0"/>
              </a:rPr>
              <a:t>Altona</a:t>
            </a:r>
            <a:r>
              <a:rPr lang="en-US" sz="1200" dirty="0" smtClean="0">
                <a:latin typeface="Arial" pitchFamily="34" charset="0"/>
              </a:rPr>
              <a:t>), </a:t>
            </a:r>
            <a:r>
              <a:rPr lang="en-US" sz="1200" dirty="0" err="1" smtClean="0">
                <a:latin typeface="Arial" pitchFamily="34" charset="0"/>
              </a:rPr>
              <a:t>der</a:t>
            </a:r>
            <a:r>
              <a:rPr lang="en-US" sz="1200" dirty="0" smtClean="0">
                <a:latin typeface="Arial" pitchFamily="34" charset="0"/>
              </a:rPr>
              <a:t> </a:t>
            </a:r>
            <a:r>
              <a:rPr lang="en-US" sz="1200" dirty="0" err="1" smtClean="0">
                <a:latin typeface="Arial" pitchFamily="34" charset="0"/>
              </a:rPr>
              <a:t>sich</a:t>
            </a:r>
            <a:r>
              <a:rPr lang="en-US" sz="1200" dirty="0" smtClean="0">
                <a:latin typeface="Arial" pitchFamily="34" charset="0"/>
              </a:rPr>
              <a:t> </a:t>
            </a:r>
            <a:r>
              <a:rPr lang="en-US" sz="1200" dirty="0" err="1" smtClean="0">
                <a:latin typeface="Arial" pitchFamily="34" charset="0"/>
              </a:rPr>
              <a:t>mit</a:t>
            </a:r>
            <a:r>
              <a:rPr lang="en-US" sz="1200" dirty="0" smtClean="0">
                <a:latin typeface="Arial" pitchFamily="34" charset="0"/>
              </a:rPr>
              <a:t> Videos </a:t>
            </a:r>
            <a:r>
              <a:rPr lang="en-US" sz="1200" dirty="0" err="1" smtClean="0">
                <a:latin typeface="Arial" pitchFamily="34" charset="0"/>
              </a:rPr>
              <a:t>für</a:t>
            </a:r>
            <a:r>
              <a:rPr lang="en-US" sz="1200" dirty="0" smtClean="0">
                <a:latin typeface="Arial" pitchFamily="34" charset="0"/>
              </a:rPr>
              <a:t> </a:t>
            </a:r>
            <a:r>
              <a:rPr lang="en-US" sz="1200" dirty="0" err="1" smtClean="0">
                <a:latin typeface="Arial" pitchFamily="34" charset="0"/>
              </a:rPr>
              <a:t>Deichkind</a:t>
            </a:r>
            <a:r>
              <a:rPr lang="en-US" sz="1200" dirty="0" smtClean="0">
                <a:latin typeface="Arial" pitchFamily="34" charset="0"/>
              </a:rPr>
              <a:t>, Die </a:t>
            </a:r>
            <a:r>
              <a:rPr lang="en-US" sz="1200" dirty="0" err="1" smtClean="0">
                <a:latin typeface="Arial" pitchFamily="34" charset="0"/>
              </a:rPr>
              <a:t>Goldenen</a:t>
            </a:r>
            <a:r>
              <a:rPr lang="en-US" sz="1200" dirty="0" smtClean="0">
                <a:latin typeface="Arial" pitchFamily="34" charset="0"/>
              </a:rPr>
              <a:t> </a:t>
            </a:r>
            <a:r>
              <a:rPr lang="en-US" sz="1200" dirty="0" err="1" smtClean="0">
                <a:latin typeface="Arial" pitchFamily="34" charset="0"/>
              </a:rPr>
              <a:t>Zitronen</a:t>
            </a:r>
            <a:r>
              <a:rPr lang="en-US" sz="1200" dirty="0" smtClean="0">
                <a:latin typeface="Arial" pitchFamily="34" charset="0"/>
              </a:rPr>
              <a:t> </a:t>
            </a:r>
            <a:r>
              <a:rPr lang="en-US" sz="1200" dirty="0" err="1" smtClean="0">
                <a:latin typeface="Arial" pitchFamily="34" charset="0"/>
              </a:rPr>
              <a:t>oder</a:t>
            </a:r>
            <a:r>
              <a:rPr lang="en-US" sz="1200" dirty="0" smtClean="0">
                <a:latin typeface="Arial" pitchFamily="34" charset="0"/>
              </a:rPr>
              <a:t> Die </a:t>
            </a:r>
            <a:r>
              <a:rPr lang="en-US" sz="1200" dirty="0" err="1" smtClean="0">
                <a:latin typeface="Arial" pitchFamily="34" charset="0"/>
              </a:rPr>
              <a:t>Vögel</a:t>
            </a:r>
            <a:r>
              <a:rPr lang="en-US" sz="1200" dirty="0" smtClean="0">
                <a:latin typeface="Arial" pitchFamily="34" charset="0"/>
              </a:rPr>
              <a:t> </a:t>
            </a:r>
            <a:r>
              <a:rPr lang="en-US" sz="1200" dirty="0" err="1" smtClean="0">
                <a:latin typeface="Arial" pitchFamily="34" charset="0"/>
              </a:rPr>
              <a:t>einen</a:t>
            </a:r>
            <a:r>
              <a:rPr lang="en-US" sz="1200" dirty="0" smtClean="0">
                <a:latin typeface="Arial" pitchFamily="34" charset="0"/>
              </a:rPr>
              <a:t> </a:t>
            </a:r>
            <a:r>
              <a:rPr lang="en-US" sz="1200" dirty="0" err="1" smtClean="0">
                <a:latin typeface="Arial" pitchFamily="34" charset="0"/>
              </a:rPr>
              <a:t>Namen</a:t>
            </a:r>
            <a:r>
              <a:rPr lang="en-US" sz="1200" dirty="0" smtClean="0">
                <a:latin typeface="Arial" pitchFamily="34" charset="0"/>
              </a:rPr>
              <a:t> </a:t>
            </a:r>
            <a:r>
              <a:rPr lang="en-US" sz="1200" dirty="0" err="1" smtClean="0">
                <a:latin typeface="Arial" pitchFamily="34" charset="0"/>
              </a:rPr>
              <a:t>gemacht</a:t>
            </a:r>
            <a:r>
              <a:rPr lang="en-US" sz="1200" dirty="0" smtClean="0">
                <a:latin typeface="Arial" pitchFamily="34" charset="0"/>
              </a:rPr>
              <a:t> hat und </a:t>
            </a:r>
            <a:r>
              <a:rPr lang="en-US" sz="1200" dirty="0" err="1" smtClean="0">
                <a:latin typeface="Arial" pitchFamily="34" charset="0"/>
              </a:rPr>
              <a:t>zuletzt</a:t>
            </a:r>
            <a:r>
              <a:rPr lang="en-US" sz="1200" dirty="0" smtClean="0">
                <a:latin typeface="Arial" pitchFamily="34" charset="0"/>
              </a:rPr>
              <a:t> die Visuals </a:t>
            </a:r>
            <a:r>
              <a:rPr lang="en-US" sz="1200" dirty="0" err="1" smtClean="0">
                <a:latin typeface="Arial" pitchFamily="34" charset="0"/>
              </a:rPr>
              <a:t>für</a:t>
            </a:r>
            <a:r>
              <a:rPr lang="en-US" sz="1200" dirty="0" smtClean="0">
                <a:latin typeface="Arial" pitchFamily="34" charset="0"/>
              </a:rPr>
              <a:t> Jarvis Cockers und Chilly Gonzales' </a:t>
            </a:r>
            <a:r>
              <a:rPr lang="en-US" sz="1200" dirty="0" err="1" smtClean="0">
                <a:latin typeface="Arial" pitchFamily="34" charset="0"/>
              </a:rPr>
              <a:t>Stück</a:t>
            </a:r>
            <a:r>
              <a:rPr lang="en-US" sz="1200" dirty="0" smtClean="0">
                <a:latin typeface="Arial" pitchFamily="34" charset="0"/>
              </a:rPr>
              <a:t> „Room 29“ </a:t>
            </a:r>
            <a:r>
              <a:rPr lang="en-US" sz="1200" dirty="0" err="1" smtClean="0">
                <a:latin typeface="Arial" pitchFamily="34" charset="0"/>
              </a:rPr>
              <a:t>kreierte</a:t>
            </a:r>
            <a:r>
              <a:rPr lang="en-US" sz="1200" dirty="0" smtClean="0">
                <a:latin typeface="Arial" pitchFamily="34" charset="0"/>
              </a:rPr>
              <a:t>.</a:t>
            </a:r>
          </a:p>
          <a:p>
            <a:pPr lvl="2">
              <a:buFont typeface="Wingdings" panose="05000000000000000000" pitchFamily="2" charset="2"/>
              <a:buChar char="§"/>
            </a:pPr>
            <a:r>
              <a:rPr lang="en-US" sz="1200" dirty="0" err="1" smtClean="0">
                <a:latin typeface="Arial" pitchFamily="34" charset="0"/>
              </a:rPr>
              <a:t>Der</a:t>
            </a:r>
            <a:r>
              <a:rPr lang="en-US" sz="1200" dirty="0" smtClean="0">
                <a:latin typeface="Arial" pitchFamily="34" charset="0"/>
              </a:rPr>
              <a:t> Hamburger </a:t>
            </a:r>
            <a:r>
              <a:rPr lang="en-US" sz="1200" dirty="0" err="1" smtClean="0">
                <a:latin typeface="Arial" pitchFamily="34" charset="0"/>
              </a:rPr>
              <a:t>Künstler</a:t>
            </a:r>
            <a:r>
              <a:rPr lang="en-US" sz="1200" dirty="0" smtClean="0">
                <a:latin typeface="Arial" pitchFamily="34" charset="0"/>
              </a:rPr>
              <a:t> </a:t>
            </a:r>
            <a:r>
              <a:rPr lang="en-US" sz="1200" b="1" dirty="0" smtClean="0">
                <a:solidFill>
                  <a:srgbClr val="007DC3"/>
                </a:solidFill>
                <a:latin typeface="Arial" pitchFamily="34" charset="0"/>
              </a:rPr>
              <a:t>1010</a:t>
            </a:r>
            <a:r>
              <a:rPr lang="en-US" sz="1200" dirty="0" smtClean="0">
                <a:latin typeface="Arial" pitchFamily="34" charset="0"/>
              </a:rPr>
              <a:t> hat </a:t>
            </a:r>
            <a:r>
              <a:rPr lang="en-US" sz="1200" dirty="0" err="1" smtClean="0">
                <a:latin typeface="Arial" pitchFamily="34" charset="0"/>
              </a:rPr>
              <a:t>exklusives</a:t>
            </a:r>
            <a:r>
              <a:rPr lang="en-US" sz="1200" dirty="0" smtClean="0">
                <a:latin typeface="Arial" pitchFamily="34" charset="0"/>
              </a:rPr>
              <a:t> Artwork </a:t>
            </a:r>
            <a:r>
              <a:rPr lang="en-US" sz="1200" dirty="0" err="1" smtClean="0">
                <a:latin typeface="Arial" pitchFamily="34" charset="0"/>
              </a:rPr>
              <a:t>für</a:t>
            </a:r>
            <a:r>
              <a:rPr lang="en-US" sz="1200" dirty="0" smtClean="0">
                <a:latin typeface="Arial" pitchFamily="34" charset="0"/>
              </a:rPr>
              <a:t> </a:t>
            </a:r>
            <a:r>
              <a:rPr lang="en-US" sz="1200" dirty="0" err="1" smtClean="0">
                <a:latin typeface="Arial" pitchFamily="34" charset="0"/>
              </a:rPr>
              <a:t>Erneuerbare</a:t>
            </a:r>
            <a:r>
              <a:rPr lang="en-US" sz="1200" dirty="0" smtClean="0">
                <a:latin typeface="Arial" pitchFamily="34" charset="0"/>
              </a:rPr>
              <a:t> </a:t>
            </a:r>
            <a:r>
              <a:rPr lang="en-US" sz="1200" dirty="0" err="1" smtClean="0">
                <a:latin typeface="Arial" pitchFamily="34" charset="0"/>
              </a:rPr>
              <a:t>Energien</a:t>
            </a:r>
            <a:r>
              <a:rPr lang="en-US" sz="1200" dirty="0" smtClean="0">
                <a:latin typeface="Arial" pitchFamily="34" charset="0"/>
              </a:rPr>
              <a:t> </a:t>
            </a:r>
            <a:r>
              <a:rPr lang="en-US" sz="1200" dirty="0" err="1" smtClean="0">
                <a:latin typeface="Arial" pitchFamily="34" charset="0"/>
              </a:rPr>
              <a:t>gestaltet</a:t>
            </a:r>
            <a:endParaRPr lang="en-US" sz="1200" dirty="0" smtClean="0">
              <a:latin typeface="Arial" pitchFamily="34" charset="0"/>
            </a:endParaRPr>
          </a:p>
        </p:txBody>
      </p:sp>
      <p:sp>
        <p:nvSpPr>
          <p:cNvPr id="16" name="Inhaltsplatzhalter 7"/>
          <p:cNvSpPr txBox="1">
            <a:spLocks/>
          </p:cNvSpPr>
          <p:nvPr>
            <p:custDataLst>
              <p:tags r:id="rId3"/>
            </p:custDataLst>
          </p:nvPr>
        </p:nvSpPr>
        <p:spPr bwMode="gray">
          <a:xfrm>
            <a:off x="1835696" y="3774060"/>
            <a:ext cx="7079704" cy="1007490"/>
          </a:xfrm>
          <a:prstGeom prst="rect">
            <a:avLst/>
          </a:prstGeom>
          <a:solidFill>
            <a:schemeClr val="bg1"/>
          </a:solidFill>
          <a:ln>
            <a:noFill/>
          </a:ln>
          <a:effectLst/>
        </p:spPr>
        <p:txBody>
          <a:bodyPr lIns="90000" tIns="72000" rIns="90000" bIns="720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buFont typeface="Wingdings" panose="05000000000000000000" pitchFamily="2" charset="2"/>
              <a:buChar char="§"/>
            </a:pPr>
            <a:r>
              <a:rPr sz="1200" dirty="0" smtClean="0"/>
              <a:t>Stephan Rath</a:t>
            </a:r>
            <a:r>
              <a:rPr lang="de-CH" sz="1200" dirty="0" smtClean="0"/>
              <a:t>: </a:t>
            </a:r>
            <a:r>
              <a:rPr lang="de-CH" sz="1200" dirty="0" smtClean="0">
                <a:solidFill>
                  <a:srgbClr val="808000"/>
                </a:solidFill>
              </a:rPr>
              <a:t>stephan@soulsville.de</a:t>
            </a:r>
          </a:p>
          <a:p>
            <a:pPr lvl="2">
              <a:buFont typeface="Wingdings" panose="05000000000000000000" pitchFamily="2" charset="2"/>
              <a:buChar char="§"/>
            </a:pPr>
            <a:r>
              <a:rPr lang="de-CH" sz="1200" dirty="0" smtClean="0">
                <a:solidFill>
                  <a:srgbClr val="808000"/>
                </a:solidFill>
              </a:rPr>
              <a:t>www.erneuerbareenergien.biz</a:t>
            </a:r>
          </a:p>
          <a:p>
            <a:pPr lvl="2">
              <a:buFont typeface="Wingdings" panose="05000000000000000000" pitchFamily="2" charset="2"/>
              <a:buChar char="§"/>
            </a:pPr>
            <a:r>
              <a:rPr lang="de-CH" sz="1200" dirty="0" smtClean="0">
                <a:solidFill>
                  <a:srgbClr val="808000"/>
                </a:solidFill>
              </a:rPr>
              <a:t>www.hand11.net</a:t>
            </a:r>
          </a:p>
          <a:p>
            <a:pPr lvl="2">
              <a:buFont typeface="Wingdings" panose="05000000000000000000" pitchFamily="2" charset="2"/>
              <a:buChar char="§"/>
            </a:pPr>
            <a:r>
              <a:rPr lang="en-US" sz="1200" dirty="0" err="1" smtClean="0"/>
              <a:t>Vertrieb</a:t>
            </a:r>
            <a:r>
              <a:rPr lang="en-US" sz="1200" dirty="0" smtClean="0"/>
              <a:t> via </a:t>
            </a:r>
            <a:r>
              <a:rPr lang="en-US" sz="1200" dirty="0" err="1" smtClean="0"/>
              <a:t>Finetunes</a:t>
            </a:r>
            <a:r>
              <a:rPr lang="en-US" sz="1200" dirty="0" smtClean="0"/>
              <a:t> (Digital, </a:t>
            </a:r>
            <a:r>
              <a:rPr lang="en-US" sz="1200" dirty="0" err="1" smtClean="0"/>
              <a:t>weltweit</a:t>
            </a:r>
            <a:r>
              <a:rPr lang="en-US" sz="1200" dirty="0" smtClean="0"/>
              <a:t>), Broken </a:t>
            </a:r>
            <a:r>
              <a:rPr lang="en-US" sz="1200" dirty="0" err="1" smtClean="0"/>
              <a:t>Silince</a:t>
            </a:r>
            <a:r>
              <a:rPr lang="en-US" sz="1200" dirty="0" smtClean="0"/>
              <a:t> (Vinyl, Deutschland, </a:t>
            </a:r>
            <a:r>
              <a:rPr lang="en-US" sz="1200" dirty="0" err="1" smtClean="0"/>
              <a:t>Österreich</a:t>
            </a:r>
            <a:r>
              <a:rPr lang="en-US" sz="1200" dirty="0" smtClean="0"/>
              <a:t>, </a:t>
            </a:r>
            <a:r>
              <a:rPr lang="en-US" sz="1200" dirty="0" err="1" smtClean="0"/>
              <a:t>Schweiz</a:t>
            </a:r>
            <a:r>
              <a:rPr lang="en-US" sz="1200" dirty="0" smtClean="0"/>
              <a:t>)</a:t>
            </a:r>
            <a:endParaRPr sz="1200" dirty="0" smtClean="0">
              <a:solidFill>
                <a:schemeClr val="tx2"/>
              </a:solidFill>
            </a:endParaRPr>
          </a:p>
          <a:p>
            <a:pPr lvl="2">
              <a:buFont typeface="Wingdings" panose="05000000000000000000" pitchFamily="2" charset="2"/>
              <a:buChar char="§"/>
            </a:pPr>
            <a:endParaRPr lang="en-US" sz="1200" dirty="0" smtClean="0">
              <a:latin typeface="Arial" pitchFamily="34" charset="0"/>
            </a:endParaRPr>
          </a:p>
        </p:txBody>
      </p:sp>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Ellipse 6"/>
          <p:cNvSpPr/>
          <p:nvPr>
            <p:custDataLst>
              <p:tags r:id="rId1"/>
            </p:custDataLst>
          </p:nvPr>
        </p:nvSpPr>
        <p:spPr bwMode="gray">
          <a:xfrm>
            <a:off x="1835620" y="464878"/>
            <a:ext cx="2588050" cy="2629420"/>
          </a:xfrm>
          <a:prstGeom prst="ellipse">
            <a:avLst/>
          </a:prstGeom>
          <a:solidFill>
            <a:srgbClr val="264283">
              <a:alpha val="90000"/>
            </a:srgbClr>
          </a:solidFill>
          <a:ln w="9525">
            <a:solidFill>
              <a:srgbClr val="26428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45720" rIns="91440" bIns="45720" numCol="1" spcCol="0" rtlCol="0" fromWordArt="0" anchor="ctr" anchorCtr="0" forceAA="0" compatLnSpc="1">
            <a:prstTxWarp prst="textNoShape">
              <a:avLst/>
            </a:prstTxWarp>
            <a:noAutofit/>
          </a:bodyPr>
          <a:lstStyle/>
          <a:p>
            <a:pPr algn="ctr">
              <a:lnSpc>
                <a:spcPct val="90000"/>
              </a:lnSpc>
              <a:spcBef>
                <a:spcPts val="300"/>
              </a:spcBef>
            </a:pPr>
            <a:r>
              <a:rPr lang="en-US" sz="3000" dirty="0" err="1" smtClean="0">
                <a:solidFill>
                  <a:schemeClr val="bg1"/>
                </a:solidFill>
                <a:latin typeface="Arial" pitchFamily="34" charset="0"/>
                <a:cs typeface="Arial" pitchFamily="34" charset="0"/>
              </a:rPr>
              <a:t>Hintergrund</a:t>
            </a:r>
            <a:r>
              <a:rPr lang="en-US" sz="3000" dirty="0" smtClean="0">
                <a:solidFill>
                  <a:schemeClr val="bg1"/>
                </a:solidFill>
                <a:latin typeface="Arial" pitchFamily="34" charset="0"/>
                <a:cs typeface="Arial" pitchFamily="34" charset="0"/>
              </a:rPr>
              <a:t> </a:t>
            </a:r>
            <a:br>
              <a:rPr lang="en-US" sz="3000" dirty="0" smtClean="0">
                <a:solidFill>
                  <a:schemeClr val="bg1"/>
                </a:solidFill>
                <a:latin typeface="Arial" pitchFamily="34" charset="0"/>
                <a:cs typeface="Arial" pitchFamily="34" charset="0"/>
              </a:rPr>
            </a:br>
            <a:r>
              <a:rPr lang="en-US" sz="3000" dirty="0" smtClean="0">
                <a:solidFill>
                  <a:schemeClr val="bg1"/>
                </a:solidFill>
                <a:latin typeface="Arial" pitchFamily="34" charset="0"/>
                <a:cs typeface="Arial" pitchFamily="34" charset="0"/>
              </a:rPr>
              <a:t>&amp; </a:t>
            </a:r>
            <a:br>
              <a:rPr lang="en-US" sz="3000" dirty="0" smtClean="0">
                <a:solidFill>
                  <a:schemeClr val="bg1"/>
                </a:solidFill>
                <a:latin typeface="Arial" pitchFamily="34" charset="0"/>
                <a:cs typeface="Arial" pitchFamily="34" charset="0"/>
              </a:rPr>
            </a:br>
            <a:r>
              <a:rPr lang="en-US" sz="3000" dirty="0" err="1" smtClean="0">
                <a:solidFill>
                  <a:schemeClr val="bg1"/>
                </a:solidFill>
                <a:latin typeface="Arial" pitchFamily="34" charset="0"/>
                <a:cs typeface="Arial" pitchFamily="34" charset="0"/>
              </a:rPr>
              <a:t>Übersicht</a:t>
            </a:r>
            <a:endParaRPr lang="en-US" sz="3000" dirty="0">
              <a:solidFill>
                <a:schemeClr val="bg1"/>
              </a:solidFill>
              <a:latin typeface="Arial" pitchFamily="34" charset="0"/>
              <a:cs typeface="Arial" pitchFamily="34" charset="0"/>
            </a:endParaRPr>
          </a:p>
        </p:txBody>
      </p:sp>
      <p:sp>
        <p:nvSpPr>
          <p:cNvPr id="8" name="Freihandform 7"/>
          <p:cNvSpPr/>
          <p:nvPr>
            <p:custDataLst>
              <p:tags r:id="rId2"/>
            </p:custDataLst>
          </p:nvPr>
        </p:nvSpPr>
        <p:spPr bwMode="gray">
          <a:xfrm>
            <a:off x="3108960" y="3146743"/>
            <a:ext cx="0" cy="2016000"/>
          </a:xfrm>
          <a:custGeom>
            <a:avLst/>
            <a:gdLst>
              <a:gd name="connsiteX0" fmla="*/ 0 w 0"/>
              <a:gd name="connsiteY0" fmla="*/ 0 h 434340"/>
              <a:gd name="connsiteX1" fmla="*/ 0 w 0"/>
              <a:gd name="connsiteY1" fmla="*/ 434340 h 434340"/>
            </a:gdLst>
            <a:ahLst/>
            <a:cxnLst>
              <a:cxn ang="0">
                <a:pos x="connsiteX0" y="connsiteY0"/>
              </a:cxn>
              <a:cxn ang="0">
                <a:pos x="connsiteX1" y="connsiteY1"/>
              </a:cxn>
            </a:cxnLst>
            <a:rect l="l" t="t" r="r" b="b"/>
            <a:pathLst>
              <a:path h="434340">
                <a:moveTo>
                  <a:pt x="0" y="0"/>
                </a:moveTo>
                <a:lnTo>
                  <a:pt x="0" y="434340"/>
                </a:lnTo>
              </a:path>
            </a:pathLst>
          </a:custGeom>
          <a:noFill/>
          <a:ln w="28575">
            <a:solidFill>
              <a:srgbClr val="2642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ihandform 10"/>
          <p:cNvSpPr/>
          <p:nvPr>
            <p:custDataLst>
              <p:tags r:id="rId3"/>
            </p:custDataLst>
          </p:nvPr>
        </p:nvSpPr>
        <p:spPr bwMode="gray">
          <a:xfrm>
            <a:off x="3108960" y="-53712"/>
            <a:ext cx="0" cy="434340"/>
          </a:xfrm>
          <a:custGeom>
            <a:avLst/>
            <a:gdLst>
              <a:gd name="connsiteX0" fmla="*/ 0 w 0"/>
              <a:gd name="connsiteY0" fmla="*/ 0 h 434340"/>
              <a:gd name="connsiteX1" fmla="*/ 0 w 0"/>
              <a:gd name="connsiteY1" fmla="*/ 434340 h 434340"/>
            </a:gdLst>
            <a:ahLst/>
            <a:cxnLst>
              <a:cxn ang="0">
                <a:pos x="connsiteX0" y="connsiteY0"/>
              </a:cxn>
              <a:cxn ang="0">
                <a:pos x="connsiteX1" y="connsiteY1"/>
              </a:cxn>
            </a:cxnLst>
            <a:rect l="l" t="t" r="r" b="b"/>
            <a:pathLst>
              <a:path h="434340">
                <a:moveTo>
                  <a:pt x="0" y="0"/>
                </a:moveTo>
                <a:lnTo>
                  <a:pt x="0" y="434340"/>
                </a:lnTo>
              </a:path>
            </a:pathLst>
          </a:custGeom>
          <a:noFill/>
          <a:ln w="28575">
            <a:solidFill>
              <a:srgbClr val="2642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272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22" presetClass="entr" presetSubtype="1"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up)">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el 2"/>
          <p:cNvSpPr>
            <a:spLocks noGrp="1"/>
          </p:cNvSpPr>
          <p:nvPr>
            <p:ph type="title"/>
          </p:nvPr>
        </p:nvSpPr>
        <p:spPr>
          <a:xfrm>
            <a:off x="302981" y="233520"/>
            <a:ext cx="4507426" cy="576080"/>
          </a:xfrm>
        </p:spPr>
        <p:txBody>
          <a:bodyPr/>
          <a:lstStyle/>
          <a:p>
            <a:r>
              <a:rPr lang="de-CH" dirty="0" smtClean="0"/>
              <a:t>Warum machen wir das? </a:t>
            </a:r>
            <a:endParaRPr lang="de-CH" dirty="0"/>
          </a:p>
        </p:txBody>
      </p:sp>
      <p:sp>
        <p:nvSpPr>
          <p:cNvPr id="6" name="Rechteck 86"/>
          <p:cNvSpPr/>
          <p:nvPr/>
        </p:nvSpPr>
        <p:spPr bwMode="gray">
          <a:xfrm>
            <a:off x="323411" y="1183142"/>
            <a:ext cx="3048293" cy="287715"/>
          </a:xfrm>
          <a:prstGeom prst="rect">
            <a:avLst/>
          </a:prstGeom>
          <a:noFill/>
          <a:ln>
            <a:noFill/>
          </a:ln>
          <a:effectLst/>
        </p:spPr>
        <p:txBody>
          <a:bodyPr vert="horz" lIns="0" tIns="108000" rIns="90000" bIns="108000" anchor="ctr" anchorCtr="0"/>
          <a:lstStyle/>
          <a:p>
            <a:pPr hangingPunct="1">
              <a:lnSpc>
                <a:spcPct val="100000"/>
              </a:lnSpc>
              <a:spcBef>
                <a:spcPts val="600"/>
              </a:spcBef>
              <a:buFont typeface="Times New Roman" charset="0"/>
              <a:buNone/>
              <a:tabLst>
                <a:tab pos="723900" algn="l"/>
                <a:tab pos="1447800" algn="l"/>
                <a:tab pos="2171700" algn="l"/>
                <a:tab pos="2895600" algn="l"/>
              </a:tabLst>
            </a:pPr>
            <a:r>
              <a:rPr lang="de-CH" sz="1400" b="1" dirty="0">
                <a:solidFill>
                  <a:srgbClr val="007DC3"/>
                </a:solidFill>
                <a:ea typeface="Arial Unicode MS" charset="0"/>
                <a:cs typeface="Arial Unicode MS" charset="0"/>
              </a:rPr>
              <a:t>Persönlicher Hintergrund</a:t>
            </a:r>
          </a:p>
        </p:txBody>
      </p:sp>
      <p:sp>
        <p:nvSpPr>
          <p:cNvPr id="7" name="Inhaltsplatzhalter 7"/>
          <p:cNvSpPr txBox="1">
            <a:spLocks/>
          </p:cNvSpPr>
          <p:nvPr>
            <p:custDataLst>
              <p:tags r:id="rId1"/>
            </p:custDataLst>
          </p:nvPr>
        </p:nvSpPr>
        <p:spPr bwMode="gray">
          <a:xfrm>
            <a:off x="323412" y="1498180"/>
            <a:ext cx="4248588" cy="979721"/>
          </a:xfrm>
          <a:prstGeom prst="rect">
            <a:avLst/>
          </a:prstGeom>
          <a:solidFill>
            <a:schemeClr val="bg1"/>
          </a:solidFill>
          <a:ln>
            <a:noFill/>
          </a:ln>
          <a:effectLst/>
        </p:spPr>
        <p:txBody>
          <a:bodyPr wrap="square" lIns="0" tIns="36000" rIns="0" bIns="36000">
            <a:spAutoFit/>
          </a:bodyPr>
          <a:lstStyle>
            <a:defPPr>
              <a:defRPr lang="en-US"/>
            </a:defPPr>
            <a:lvl1pPr indent="0">
              <a:spcBef>
                <a:spcPts val="600"/>
              </a:spcBef>
              <a:spcAft>
                <a:spcPts val="0"/>
              </a:spcAft>
              <a:buFont typeface="Arial" pitchFamily="34" charset="0"/>
              <a:buNone/>
              <a:defRPr>
                <a:solidFill>
                  <a:schemeClr val="tx2"/>
                </a:solidFill>
              </a:defRPr>
            </a:lvl1pPr>
            <a:lvl2pPr marL="0" indent="0">
              <a:spcBef>
                <a:spcPts val="600"/>
              </a:spcBef>
              <a:spcAft>
                <a:spcPts val="0"/>
              </a:spcAft>
              <a:buFont typeface="Arial" pitchFamily="34" charset="0"/>
              <a:buNone/>
              <a:defRPr sz="1600"/>
            </a:lvl2pPr>
            <a:lvl3pPr marL="0" lvl="2" indent="0">
              <a:spcBef>
                <a:spcPts val="300"/>
              </a:spcBef>
              <a:spcAft>
                <a:spcPts val="0"/>
              </a:spcAft>
              <a:buFont typeface="Arial" pitchFamily="34" charset="0"/>
              <a:buNone/>
              <a:defRPr sz="1050">
                <a:solidFill>
                  <a:srgbClr val="000000"/>
                </a:solidFill>
              </a:defRPr>
            </a:lvl3pPr>
            <a:lvl4pPr marL="361950" indent="-180975">
              <a:spcBef>
                <a:spcPts val="300"/>
              </a:spcBef>
              <a:spcAft>
                <a:spcPts val="0"/>
              </a:spcAft>
              <a:buFont typeface="Arial" pitchFamily="34" charset="0"/>
              <a:buChar char="•"/>
              <a:defRPr sz="1600"/>
            </a:lvl4pPr>
            <a:lvl5pPr marL="542925"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pPr marL="177800" lvl="2" indent="-177800">
              <a:buFont typeface="Arial"/>
              <a:buChar char="•"/>
            </a:pPr>
            <a:r>
              <a:rPr lang="de-CH" sz="1200" b="1" dirty="0" smtClean="0"/>
              <a:t>Obsolete Formate: </a:t>
            </a:r>
            <a:r>
              <a:rPr lang="de-DE" sz="1200" dirty="0" smtClean="0">
                <a:ea typeface="Arial Unicode MS" charset="0"/>
                <a:cs typeface="Arial Unicode MS" charset="0"/>
              </a:rPr>
              <a:t>Bandformate und der einsame </a:t>
            </a:r>
            <a:r>
              <a:rPr lang="de-DE" sz="1200" dirty="0" err="1" smtClean="0">
                <a:ea typeface="Arial Unicode MS" charset="0"/>
                <a:cs typeface="Arial Unicode MS" charset="0"/>
              </a:rPr>
              <a:t>Producer</a:t>
            </a:r>
            <a:r>
              <a:rPr lang="de-DE" sz="1200" dirty="0" smtClean="0">
                <a:ea typeface="Arial Unicode MS" charset="0"/>
                <a:cs typeface="Arial Unicode MS" charset="0"/>
              </a:rPr>
              <a:t> sind langweilig geworden. Diese Geschichten erscheinen </a:t>
            </a:r>
            <a:r>
              <a:rPr lang="de-DE" sz="1200" dirty="0" err="1" smtClean="0">
                <a:ea typeface="Arial Unicode MS" charset="0"/>
                <a:cs typeface="Arial Unicode MS" charset="0"/>
              </a:rPr>
              <a:t>auserzählt</a:t>
            </a:r>
            <a:endParaRPr lang="de-CH" sz="1200" dirty="0" smtClean="0"/>
          </a:p>
          <a:p>
            <a:pPr marL="177800" lvl="2" indent="-177800">
              <a:buFont typeface="Arial"/>
              <a:buChar char="•"/>
            </a:pPr>
            <a:r>
              <a:rPr lang="de-CH" sz="1200" b="1" dirty="0" smtClean="0"/>
              <a:t>Endpunkt: </a:t>
            </a:r>
            <a:r>
              <a:rPr lang="de-DE" sz="1200" dirty="0" smtClean="0">
                <a:ea typeface="Arial Unicode MS" charset="0"/>
                <a:cs typeface="Arial Unicode MS" charset="0"/>
              </a:rPr>
              <a:t>Dance- und </a:t>
            </a:r>
            <a:r>
              <a:rPr lang="de-DE" sz="1200" dirty="0" err="1" smtClean="0">
                <a:ea typeface="Arial Unicode MS" charset="0"/>
                <a:cs typeface="Arial Unicode MS" charset="0"/>
              </a:rPr>
              <a:t>Indie/Bandmusik</a:t>
            </a:r>
            <a:r>
              <a:rPr lang="de-DE" sz="1200" dirty="0" smtClean="0">
                <a:ea typeface="Arial Unicode MS" charset="0"/>
                <a:cs typeface="Arial Unicode MS" charset="0"/>
              </a:rPr>
              <a:t> sind an einem Endpunkt angekommen</a:t>
            </a:r>
            <a:r>
              <a:rPr sz="1200" dirty="0" smtClean="0"/>
              <a:t> </a:t>
            </a:r>
            <a:r>
              <a:rPr lang="de-DE" sz="1200" dirty="0" smtClean="0"/>
              <a:t> </a:t>
            </a:r>
          </a:p>
        </p:txBody>
      </p:sp>
      <p:cxnSp>
        <p:nvCxnSpPr>
          <p:cNvPr id="10" name="Gerade Verbindung 4"/>
          <p:cNvCxnSpPr/>
          <p:nvPr/>
        </p:nvCxnSpPr>
        <p:spPr>
          <a:xfrm rot="16200000" flipH="1">
            <a:off x="3898481" y="2044281"/>
            <a:ext cx="1764002" cy="14836"/>
          </a:xfrm>
          <a:prstGeom prst="line">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1" name="Gleichschenkliges Dreieck 59"/>
          <p:cNvSpPr/>
          <p:nvPr/>
        </p:nvSpPr>
        <p:spPr bwMode="gray">
          <a:xfrm rot="16200000" flipV="1">
            <a:off x="4694803" y="1862114"/>
            <a:ext cx="277436" cy="108261"/>
          </a:xfrm>
          <a:prstGeom prst="triangl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de-CH" sz="1000" dirty="0" smtClean="0">
              <a:solidFill>
                <a:schemeClr val="tx1"/>
              </a:solidFill>
              <a:latin typeface="+mj-lt"/>
              <a:cs typeface="Arial" pitchFamily="34" charset="0"/>
            </a:endParaRPr>
          </a:p>
        </p:txBody>
      </p:sp>
      <p:sp>
        <p:nvSpPr>
          <p:cNvPr id="26" name="Rechteck 88"/>
          <p:cNvSpPr/>
          <p:nvPr/>
        </p:nvSpPr>
        <p:spPr bwMode="gray">
          <a:xfrm>
            <a:off x="5062188" y="1168400"/>
            <a:ext cx="3726212" cy="330199"/>
          </a:xfrm>
          <a:prstGeom prst="rect">
            <a:avLst/>
          </a:prstGeom>
          <a:noFill/>
          <a:ln>
            <a:noFill/>
          </a:ln>
          <a:effectLst/>
        </p:spPr>
        <p:txBody>
          <a:bodyPr vert="horz" lIns="0" tIns="108000" rIns="90000" bIns="108000" anchor="ctr" anchorCtr="0"/>
          <a:lstStyle/>
          <a:p>
            <a:pPr hangingPunct="1">
              <a:lnSpc>
                <a:spcPct val="100000"/>
              </a:lnSpc>
              <a:spcBef>
                <a:spcPts val="600"/>
              </a:spcBef>
              <a:tabLst>
                <a:tab pos="723900" algn="l"/>
                <a:tab pos="1447800" algn="l"/>
                <a:tab pos="2171700" algn="l"/>
                <a:tab pos="2895600" algn="l"/>
                <a:tab pos="3619500" algn="l"/>
              </a:tabLst>
            </a:pPr>
            <a:r>
              <a:rPr lang="de-CH" sz="1400" b="1" dirty="0">
                <a:solidFill>
                  <a:srgbClr val="264283"/>
                </a:solidFill>
                <a:ea typeface="Arial Unicode MS" charset="0"/>
                <a:cs typeface="Arial Unicode MS" charset="0"/>
              </a:rPr>
              <a:t>Gesellschaftlicher Hintergrund</a:t>
            </a:r>
          </a:p>
        </p:txBody>
      </p:sp>
      <p:sp>
        <p:nvSpPr>
          <p:cNvPr id="29" name="Inhaltsplatzhalter 7"/>
          <p:cNvSpPr txBox="1">
            <a:spLocks/>
          </p:cNvSpPr>
          <p:nvPr>
            <p:custDataLst>
              <p:tags r:id="rId2"/>
            </p:custDataLst>
          </p:nvPr>
        </p:nvSpPr>
        <p:spPr bwMode="gray">
          <a:xfrm>
            <a:off x="5062188" y="1498180"/>
            <a:ext cx="3891312" cy="1315505"/>
          </a:xfrm>
          <a:prstGeom prst="rect">
            <a:avLst/>
          </a:prstGeom>
          <a:noFill/>
          <a:ln>
            <a:noFill/>
          </a:ln>
          <a:effectLst/>
        </p:spPr>
        <p:txBody>
          <a:bodyPr wrap="square" lIns="0" tIns="36000" rIns="0" bIns="36000">
            <a:spAutoFit/>
          </a:bodyPr>
          <a:lstStyle>
            <a:defPPr>
              <a:defRPr lang="en-US"/>
            </a:defPPr>
            <a:lvl1pPr indent="0">
              <a:spcBef>
                <a:spcPts val="600"/>
              </a:spcBef>
              <a:spcAft>
                <a:spcPts val="0"/>
              </a:spcAft>
              <a:buFont typeface="Arial" pitchFamily="34" charset="0"/>
              <a:buNone/>
              <a:defRPr sz="1000"/>
            </a:lvl1pPr>
            <a:lvl2pPr marL="0" indent="0">
              <a:spcBef>
                <a:spcPts val="600"/>
              </a:spcBef>
              <a:spcAft>
                <a:spcPts val="0"/>
              </a:spcAft>
              <a:buFont typeface="Arial" pitchFamily="34" charset="0"/>
              <a:buNone/>
              <a:defRPr sz="1600"/>
            </a:lvl2pPr>
            <a:lvl3pPr marL="0" lvl="2" indent="0">
              <a:spcBef>
                <a:spcPts val="300"/>
              </a:spcBef>
              <a:spcAft>
                <a:spcPts val="0"/>
              </a:spcAft>
              <a:buFont typeface="Arial" pitchFamily="34" charset="0"/>
              <a:buNone/>
              <a:defRPr sz="1050">
                <a:solidFill>
                  <a:srgbClr val="000000"/>
                </a:solidFill>
              </a:defRPr>
            </a:lvl3pPr>
            <a:lvl4pPr marL="361950" indent="-180975">
              <a:spcBef>
                <a:spcPts val="300"/>
              </a:spcBef>
              <a:spcAft>
                <a:spcPts val="0"/>
              </a:spcAft>
              <a:buFont typeface="Arial" pitchFamily="34" charset="0"/>
              <a:buChar char="•"/>
              <a:defRPr sz="1600"/>
            </a:lvl4pPr>
            <a:lvl5pPr marL="542925"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pPr marL="177800" lvl="2" indent="-177800">
              <a:buFont typeface="Arial"/>
              <a:buChar char="•"/>
            </a:pPr>
            <a:r>
              <a:rPr lang="de-DE" sz="1200" b="1" dirty="0" smtClean="0">
                <a:ea typeface="Arial Unicode MS" charset="0"/>
                <a:cs typeface="Arial Unicode MS" charset="0"/>
              </a:rPr>
              <a:t>Neue, unangenehme Situation</a:t>
            </a:r>
            <a:r>
              <a:rPr lang="de-DE" sz="1200" dirty="0" smtClean="0">
                <a:ea typeface="Arial Unicode MS" charset="0"/>
                <a:cs typeface="Arial Unicode MS" charset="0"/>
              </a:rPr>
              <a:t>: Es gibt eine neue gesellschaftliche Situation, die nicht besonders prickelnd ist. Es findet ein rückwärtsgewandter gesellschaftlicher Paradigmenwechsel statt (Neue Rechte, neuer </a:t>
            </a:r>
            <a:r>
              <a:rPr lang="de-DE" sz="1200" dirty="0" err="1" smtClean="0">
                <a:ea typeface="Arial Unicode MS" charset="0"/>
                <a:cs typeface="Arial Unicode MS" charset="0"/>
              </a:rPr>
              <a:t>Backlash</a:t>
            </a:r>
            <a:r>
              <a:rPr lang="de-DE" sz="1200" dirty="0" smtClean="0">
                <a:ea typeface="Arial Unicode MS" charset="0"/>
                <a:cs typeface="Arial Unicode MS" charset="0"/>
              </a:rPr>
              <a:t>, neue Mauern, neue Haufen Scheiße)  </a:t>
            </a:r>
            <a:r>
              <a:rPr lang="de-DE" sz="1200" dirty="0" smtClean="0"/>
              <a:t>  </a:t>
            </a:r>
          </a:p>
          <a:p>
            <a:pPr marL="177800" lvl="2" indent="-177800">
              <a:buFont typeface="Arial"/>
              <a:buChar char="•"/>
            </a:pPr>
            <a:r>
              <a:rPr lang="de-DE" sz="1200" b="1" dirty="0" smtClean="0"/>
              <a:t>Fehlende Strategien: </a:t>
            </a:r>
            <a:r>
              <a:rPr lang="de-DE" sz="1200" dirty="0" smtClean="0">
                <a:ea typeface="Arial Unicode MS" charset="0"/>
                <a:cs typeface="Arial Unicode MS" charset="0"/>
              </a:rPr>
              <a:t>Es fehlt an Gegenentwürfen</a:t>
            </a:r>
            <a:endParaRPr lang="de-DE" sz="1200" dirty="0" smtClean="0"/>
          </a:p>
        </p:txBody>
      </p:sp>
      <p:cxnSp>
        <p:nvCxnSpPr>
          <p:cNvPr id="32" name="Gerade Verbindung 10"/>
          <p:cNvCxnSpPr/>
          <p:nvPr/>
        </p:nvCxnSpPr>
        <p:spPr bwMode="gray">
          <a:xfrm>
            <a:off x="323409" y="1470260"/>
            <a:ext cx="295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10"/>
          <p:cNvCxnSpPr/>
          <p:nvPr/>
        </p:nvCxnSpPr>
        <p:spPr bwMode="gray">
          <a:xfrm>
            <a:off x="5062188" y="1464430"/>
            <a:ext cx="226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Gleichschenkliges Dreieck 86"/>
          <p:cNvSpPr/>
          <p:nvPr/>
        </p:nvSpPr>
        <p:spPr bwMode="gray">
          <a:xfrm rot="10800000">
            <a:off x="3823395" y="3341838"/>
            <a:ext cx="1750779" cy="226601"/>
          </a:xfrm>
          <a:prstGeom prst="triangle">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14" name="Rectangle 10"/>
          <p:cNvSpPr>
            <a:spLocks noChangeArrowheads="1"/>
          </p:cNvSpPr>
          <p:nvPr/>
        </p:nvSpPr>
        <p:spPr bwMode="auto">
          <a:xfrm>
            <a:off x="404812" y="3716338"/>
            <a:ext cx="8129587" cy="658129"/>
          </a:xfrm>
          <a:prstGeom prst="rect">
            <a:avLst/>
          </a:prstGeom>
          <a:gradFill rotWithShape="0">
            <a:gsLst>
              <a:gs pos="0">
                <a:srgbClr val="ADB6DD"/>
              </a:gs>
              <a:gs pos="100000">
                <a:srgbClr val="E8EBF6"/>
              </a:gs>
            </a:gsLst>
            <a:lin ang="16200000" scaled="1"/>
          </a:gradFill>
          <a:ln w="9360">
            <a:solidFill>
              <a:srgbClr val="233F82"/>
            </a:solidFill>
            <a:round/>
            <a:headEnd/>
            <a:tailEnd/>
          </a:ln>
          <a:effectLst/>
        </p:spPr>
        <p:txBody>
          <a:bodyPr wrap="square" lIns="54000" tIns="27000" rIns="54000" bIns="27000" anchor="ctr">
            <a:prstTxWarp prst="textNoShape">
              <a:avLst/>
            </a:prstTxWarp>
            <a:spAutoFit/>
          </a:bodyPr>
          <a:lstStyle/>
          <a:p>
            <a:pPr marL="177800" lvl="2" indent="-177800">
              <a:buFont typeface="Arial"/>
              <a:buChar char="•"/>
              <a:tabLst>
                <a:tab pos="723900" algn="l"/>
                <a:tab pos="1447800" algn="l"/>
                <a:tab pos="2171700" algn="l"/>
                <a:tab pos="2895600" algn="l"/>
                <a:tab pos="3619500" algn="l"/>
                <a:tab pos="4343400" algn="l"/>
                <a:tab pos="5067300" algn="l"/>
                <a:tab pos="5791200" algn="l"/>
                <a:tab pos="6515100" algn="l"/>
                <a:tab pos="7239000" algn="l"/>
              </a:tabLst>
            </a:pPr>
            <a:r>
              <a:rPr lang="de-DE" sz="1400" b="1" dirty="0">
                <a:solidFill>
                  <a:schemeClr val="dk1"/>
                </a:solidFill>
                <a:latin typeface="+mn-lt"/>
              </a:rPr>
              <a:t>Es braucht Neues! </a:t>
            </a:r>
            <a:r>
              <a:rPr lang="de-DE" sz="1400" dirty="0">
                <a:solidFill>
                  <a:schemeClr val="dk1"/>
                </a:solidFill>
                <a:latin typeface="+mn-lt"/>
              </a:rPr>
              <a:t>Das Vakuum muss gefüllt werden. Es braucht neu gedachte Musik. Es braucht Ekstase und </a:t>
            </a:r>
            <a:r>
              <a:rPr lang="de-DE" sz="1400" dirty="0" smtClean="0">
                <a:solidFill>
                  <a:schemeClr val="dk1"/>
                </a:solidFill>
                <a:latin typeface="+mn-lt"/>
              </a:rPr>
              <a:t>weißes </a:t>
            </a:r>
            <a:r>
              <a:rPr lang="de-DE" sz="1400" dirty="0">
                <a:solidFill>
                  <a:schemeClr val="dk1"/>
                </a:solidFill>
                <a:latin typeface="+mn-lt"/>
              </a:rPr>
              <a:t>Rauschen.</a:t>
            </a:r>
            <a:r>
              <a:rPr lang="de-DE" sz="1400" dirty="0" smtClean="0">
                <a:solidFill>
                  <a:schemeClr val="dk1"/>
                </a:solidFill>
                <a:latin typeface="+mn-lt"/>
              </a:rPr>
              <a:t> </a:t>
            </a:r>
          </a:p>
          <a:p>
            <a:pPr marL="177800" lvl="2" indent="-176213" hangingPunct="1">
              <a:lnSpc>
                <a:spcPct val="100000"/>
              </a:lnSpc>
              <a:buSzPct val="45000"/>
              <a:buFont typeface="Wingdings" charset="2"/>
              <a:buChar char="§"/>
              <a:tabLst>
                <a:tab pos="723900" algn="l"/>
                <a:tab pos="1447800" algn="l"/>
                <a:tab pos="2171700" algn="l"/>
                <a:tab pos="2895600" algn="l"/>
                <a:tab pos="3619500" algn="l"/>
                <a:tab pos="4343400" algn="l"/>
                <a:tab pos="5067300" algn="l"/>
                <a:tab pos="5791200" algn="l"/>
                <a:tab pos="6515100" algn="l"/>
                <a:tab pos="7239000" algn="l"/>
              </a:tabLst>
            </a:pPr>
            <a:endParaRPr lang="de-DE" sz="1400" dirty="0">
              <a:solidFill>
                <a:srgbClr val="000000"/>
              </a:solidFill>
              <a:ea typeface="Arial Unicode MS" charset="0"/>
              <a:cs typeface="Arial Unicode MS"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1994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17" name="Rectangle 1"/>
          <p:cNvSpPr>
            <a:spLocks noChangeArrowheads="1"/>
          </p:cNvSpPr>
          <p:nvPr/>
        </p:nvSpPr>
        <p:spPr bwMode="auto">
          <a:xfrm>
            <a:off x="596900" y="3962400"/>
            <a:ext cx="8235950" cy="1011238"/>
          </a:xfrm>
          <a:prstGeom prst="rect">
            <a:avLst/>
          </a:prstGeom>
          <a:gradFill rotWithShape="0">
            <a:gsLst>
              <a:gs pos="0">
                <a:srgbClr val="ADB6DD"/>
              </a:gs>
              <a:gs pos="100000">
                <a:srgbClr val="E8EBF6"/>
              </a:gs>
            </a:gsLst>
            <a:lin ang="16200000" scaled="1"/>
          </a:gradFill>
          <a:ln w="9360">
            <a:solidFill>
              <a:srgbClr val="233F82"/>
            </a:solidFill>
            <a:round/>
            <a:headEnd/>
            <a:tailEnd/>
          </a:ln>
          <a:effectLst/>
        </p:spPr>
        <p:txBody>
          <a:bodyPr lIns="54000" tIns="27000" rIns="54000" bIns="27000" anchor="ctr">
            <a:prstTxWarp prst="textNoShape">
              <a:avLst/>
            </a:prstTxWarp>
          </a:bodyPr>
          <a:lstStyle/>
          <a:p>
            <a:pPr algn="ctr" hangingPunct="1">
              <a:lnSpc>
                <a:spcPct val="100000"/>
              </a:lnSpc>
              <a:tabLst>
                <a:tab pos="723900" algn="l"/>
                <a:tab pos="1447800" algn="l"/>
                <a:tab pos="2171700" algn="l"/>
                <a:tab pos="2895600" algn="l"/>
                <a:tab pos="3619500" algn="l"/>
                <a:tab pos="4343400" algn="l"/>
                <a:tab pos="5067300" algn="l"/>
                <a:tab pos="5791200" algn="l"/>
                <a:tab pos="6515100" algn="l"/>
                <a:tab pos="7239000" algn="l"/>
                <a:tab pos="7962900" algn="l"/>
              </a:tabLst>
            </a:pPr>
            <a:r>
              <a:rPr lang="de-DE" sz="1400">
                <a:solidFill>
                  <a:srgbClr val="000000"/>
                </a:solidFill>
                <a:ea typeface="Arial Unicode MS" charset="0"/>
                <a:cs typeface="Arial Unicode MS" charset="0"/>
              </a:rPr>
              <a:t>               Aus diesen Gründen haben sich diese drei Typen zusammengetan</a:t>
            </a:r>
          </a:p>
        </p:txBody>
      </p:sp>
      <p:grpSp>
        <p:nvGrpSpPr>
          <p:cNvPr id="9218" name="Group 2"/>
          <p:cNvGrpSpPr>
            <a:grpSpLocks/>
          </p:cNvGrpSpPr>
          <p:nvPr/>
        </p:nvGrpSpPr>
        <p:grpSpPr bwMode="auto">
          <a:xfrm>
            <a:off x="722313" y="4256088"/>
            <a:ext cx="685800" cy="476250"/>
            <a:chOff x="455" y="2681"/>
            <a:chExt cx="432" cy="300"/>
          </a:xfrm>
        </p:grpSpPr>
        <p:sp>
          <p:nvSpPr>
            <p:cNvPr id="9219" name="Freeform 3"/>
            <p:cNvSpPr>
              <a:spLocks noChangeArrowheads="1"/>
            </p:cNvSpPr>
            <p:nvPr/>
          </p:nvSpPr>
          <p:spPr bwMode="auto">
            <a:xfrm>
              <a:off x="557" y="2780"/>
              <a:ext cx="206" cy="201"/>
            </a:xfrm>
            <a:custGeom>
              <a:avLst/>
              <a:gdLst>
                <a:gd name="G0" fmla="*/ 198 229 1"/>
                <a:gd name="G1" fmla="*/ G0 1 229"/>
                <a:gd name="G2" fmla="*/ 1 0 51712"/>
                <a:gd name="G3" fmla="*/ G2 223 1"/>
                <a:gd name="G4" fmla="*/ G3 1 223"/>
                <a:gd name="G5" fmla="*/ 31 229 1"/>
                <a:gd name="G6" fmla="*/ G5 1 229"/>
                <a:gd name="G7" fmla="*/ 1 0 51712"/>
                <a:gd name="G8" fmla="*/ G7 223 1"/>
                <a:gd name="G9" fmla="*/ G8 1 223"/>
                <a:gd name="G10" fmla="*/ 1 0 51712"/>
                <a:gd name="G11" fmla="*/ G10 229 1"/>
                <a:gd name="G12" fmla="*/ G11 1 229"/>
                <a:gd name="G13" fmla="*/ 31 223 1"/>
                <a:gd name="G14" fmla="*/ G13 1 223"/>
                <a:gd name="G15" fmla="*/ 1 0 51712"/>
                <a:gd name="G16" fmla="*/ G15 229 1"/>
                <a:gd name="G17" fmla="*/ G16 1 229"/>
                <a:gd name="G18" fmla="*/ 142 223 1"/>
                <a:gd name="G19" fmla="*/ G18 1 223"/>
                <a:gd name="G20" fmla="*/ 31 229 1"/>
                <a:gd name="G21" fmla="*/ G20 1 229"/>
                <a:gd name="G22" fmla="*/ 173 223 1"/>
                <a:gd name="G23" fmla="*/ G22 1 223"/>
                <a:gd name="G24" fmla="*/ 126 229 1"/>
                <a:gd name="G25" fmla="*/ G24 1 229"/>
                <a:gd name="G26" fmla="*/ 173 223 1"/>
                <a:gd name="G27" fmla="*/ G26 1 223"/>
                <a:gd name="G28" fmla="*/ 217 229 1"/>
                <a:gd name="G29" fmla="*/ G28 1 229"/>
                <a:gd name="G30" fmla="*/ 223 223 1"/>
                <a:gd name="G31" fmla="*/ G30 1 223"/>
                <a:gd name="G32" fmla="*/ 200 229 1"/>
                <a:gd name="G33" fmla="*/ G32 1 229"/>
                <a:gd name="G34" fmla="*/ 173 223 1"/>
                <a:gd name="G35" fmla="*/ G34 1 223"/>
                <a:gd name="G36" fmla="*/ 229 229 1"/>
                <a:gd name="G37" fmla="*/ G36 1 229"/>
                <a:gd name="G38" fmla="*/ 142 223 1"/>
                <a:gd name="G39" fmla="*/ G38 1 223"/>
                <a:gd name="G40" fmla="*/ 229 229 1"/>
                <a:gd name="G41" fmla="*/ G40 1 229"/>
                <a:gd name="G42" fmla="*/ 31 223 1"/>
                <a:gd name="G43" fmla="*/ G42 1 223"/>
                <a:gd name="G44" fmla="*/ 198 229 1"/>
                <a:gd name="G45" fmla="*/ G44 1 229"/>
                <a:gd name="G46" fmla="*/ 1 0 51712"/>
                <a:gd name="G47" fmla="*/ G46 223 1"/>
                <a:gd name="G48" fmla="*/ G47 1 223"/>
                <a:gd name="G49" fmla="*/ 110 229 1"/>
                <a:gd name="G50" fmla="*/ G49 1 229"/>
                <a:gd name="G51" fmla="*/ 44 223 1"/>
                <a:gd name="G52" fmla="*/ G51 1 223"/>
                <a:gd name="G53" fmla="*/ 38 229 1"/>
                <a:gd name="G54" fmla="*/ G53 1 229"/>
                <a:gd name="G55" fmla="*/ 44 223 1"/>
                <a:gd name="G56" fmla="*/ G55 1 223"/>
                <a:gd name="G57" fmla="*/ 31 229 1"/>
                <a:gd name="G58" fmla="*/ G57 1 229"/>
                <a:gd name="G59" fmla="*/ 37 223 1"/>
                <a:gd name="G60" fmla="*/ G59 1 223"/>
                <a:gd name="G61" fmla="*/ 38 229 1"/>
                <a:gd name="G62" fmla="*/ G61 1 229"/>
                <a:gd name="G63" fmla="*/ 30 223 1"/>
                <a:gd name="G64" fmla="*/ G63 1 223"/>
                <a:gd name="G65" fmla="*/ 110 229 1"/>
                <a:gd name="G66" fmla="*/ G65 1 229"/>
                <a:gd name="G67" fmla="*/ 30 223 1"/>
                <a:gd name="G68" fmla="*/ G67 1 223"/>
                <a:gd name="G69" fmla="*/ 117 229 1"/>
                <a:gd name="G70" fmla="*/ G69 1 229"/>
                <a:gd name="G71" fmla="*/ 37 223 1"/>
                <a:gd name="G72" fmla="*/ G71 1 223"/>
                <a:gd name="G73" fmla="*/ 110 229 1"/>
                <a:gd name="G74" fmla="*/ G73 1 229"/>
                <a:gd name="G75" fmla="*/ 44 223 1"/>
                <a:gd name="G76" fmla="*/ G75 1 223"/>
                <a:gd name="G77" fmla="+- 229 0 0"/>
                <a:gd name="G78" fmla="+- 223 0 0"/>
              </a:gdLst>
              <a:ahLst/>
              <a:cxnLst>
                <a:cxn ang="0">
                  <a:pos x="198" y="0"/>
                </a:cxn>
                <a:cxn ang="0">
                  <a:pos x="31" y="0"/>
                </a:cxn>
                <a:cxn ang="0">
                  <a:pos x="0" y="31"/>
                </a:cxn>
                <a:cxn ang="0">
                  <a:pos x="0" y="142"/>
                </a:cxn>
                <a:cxn ang="0">
                  <a:pos x="31" y="173"/>
                </a:cxn>
                <a:cxn ang="0">
                  <a:pos x="126" y="173"/>
                </a:cxn>
                <a:cxn ang="0">
                  <a:pos x="217" y="223"/>
                </a:cxn>
                <a:cxn ang="0">
                  <a:pos x="200" y="173"/>
                </a:cxn>
                <a:cxn ang="0">
                  <a:pos x="229" y="142"/>
                </a:cxn>
                <a:cxn ang="0">
                  <a:pos x="229" y="31"/>
                </a:cxn>
                <a:cxn ang="0">
                  <a:pos x="198" y="0"/>
                </a:cxn>
                <a:cxn ang="0">
                  <a:pos x="110" y="44"/>
                </a:cxn>
                <a:cxn ang="0">
                  <a:pos x="38" y="44"/>
                </a:cxn>
                <a:cxn ang="0">
                  <a:pos x="31" y="37"/>
                </a:cxn>
                <a:cxn ang="0">
                  <a:pos x="38" y="30"/>
                </a:cxn>
                <a:cxn ang="0">
                  <a:pos x="110" y="30"/>
                </a:cxn>
                <a:cxn ang="0">
                  <a:pos x="117" y="37"/>
                </a:cxn>
                <a:cxn ang="0">
                  <a:pos x="110" y="44"/>
                </a:cxn>
              </a:cxnLst>
              <a:rect l="0" t="0" r="r" b="b"/>
              <a:pathLst>
                <a:path w="229" h="223">
                  <a:moveTo>
                    <a:pt x="198" y="0"/>
                  </a:moveTo>
                  <a:cubicBezTo>
                    <a:pt x="31" y="0"/>
                    <a:pt x="31" y="0"/>
                    <a:pt x="31" y="0"/>
                  </a:cubicBezTo>
                  <a:cubicBezTo>
                    <a:pt x="14" y="0"/>
                    <a:pt x="0" y="14"/>
                    <a:pt x="0" y="31"/>
                  </a:cubicBezTo>
                  <a:cubicBezTo>
                    <a:pt x="0" y="142"/>
                    <a:pt x="0" y="142"/>
                    <a:pt x="0" y="142"/>
                  </a:cubicBezTo>
                  <a:cubicBezTo>
                    <a:pt x="0" y="159"/>
                    <a:pt x="14" y="173"/>
                    <a:pt x="31" y="173"/>
                  </a:cubicBezTo>
                  <a:cubicBezTo>
                    <a:pt x="126" y="173"/>
                    <a:pt x="126" y="173"/>
                    <a:pt x="126" y="173"/>
                  </a:cubicBezTo>
                  <a:cubicBezTo>
                    <a:pt x="217" y="223"/>
                    <a:pt x="217" y="223"/>
                    <a:pt x="217" y="223"/>
                  </a:cubicBezTo>
                  <a:cubicBezTo>
                    <a:pt x="200" y="173"/>
                    <a:pt x="200" y="173"/>
                    <a:pt x="200" y="173"/>
                  </a:cubicBezTo>
                  <a:cubicBezTo>
                    <a:pt x="216" y="172"/>
                    <a:pt x="229" y="159"/>
                    <a:pt x="229" y="142"/>
                  </a:cubicBezTo>
                  <a:cubicBezTo>
                    <a:pt x="229" y="31"/>
                    <a:pt x="229" y="31"/>
                    <a:pt x="229" y="31"/>
                  </a:cubicBezTo>
                  <a:cubicBezTo>
                    <a:pt x="229" y="14"/>
                    <a:pt x="215" y="0"/>
                    <a:pt x="198" y="0"/>
                  </a:cubicBezTo>
                  <a:close/>
                  <a:moveTo>
                    <a:pt x="110" y="44"/>
                  </a:moveTo>
                  <a:cubicBezTo>
                    <a:pt x="38" y="44"/>
                    <a:pt x="38" y="44"/>
                    <a:pt x="38" y="44"/>
                  </a:cubicBezTo>
                  <a:cubicBezTo>
                    <a:pt x="34" y="44"/>
                    <a:pt x="31" y="41"/>
                    <a:pt x="31" y="37"/>
                  </a:cubicBezTo>
                  <a:cubicBezTo>
                    <a:pt x="31" y="33"/>
                    <a:pt x="34" y="30"/>
                    <a:pt x="38" y="30"/>
                  </a:cubicBezTo>
                  <a:cubicBezTo>
                    <a:pt x="110" y="30"/>
                    <a:pt x="110" y="30"/>
                    <a:pt x="110" y="30"/>
                  </a:cubicBezTo>
                  <a:cubicBezTo>
                    <a:pt x="114" y="30"/>
                    <a:pt x="117" y="33"/>
                    <a:pt x="117" y="37"/>
                  </a:cubicBezTo>
                  <a:cubicBezTo>
                    <a:pt x="117" y="41"/>
                    <a:pt x="114" y="44"/>
                    <a:pt x="110" y="44"/>
                  </a:cubicBezTo>
                  <a:close/>
                </a:path>
              </a:pathLst>
            </a:custGeom>
            <a:solidFill>
              <a:srgbClr val="FFFFFF"/>
            </a:solidFill>
            <a:ln w="25560">
              <a:solidFill>
                <a:srgbClr val="007DC3"/>
              </a:solidFill>
              <a:round/>
              <a:headEnd/>
              <a:tailEnd/>
            </a:ln>
            <a:effectLst/>
          </p:spPr>
          <p:txBody>
            <a:bodyPr wrap="none" anchor="ctr">
              <a:prstTxWarp prst="textNoShape">
                <a:avLst/>
              </a:prstTxWarp>
            </a:bodyPr>
            <a:lstStyle/>
            <a:p>
              <a:endParaRPr lang="de-CH"/>
            </a:p>
          </p:txBody>
        </p:sp>
        <p:sp>
          <p:nvSpPr>
            <p:cNvPr id="9220" name="Freeform 4"/>
            <p:cNvSpPr>
              <a:spLocks noChangeArrowheads="1"/>
            </p:cNvSpPr>
            <p:nvPr/>
          </p:nvSpPr>
          <p:spPr bwMode="auto">
            <a:xfrm>
              <a:off x="455" y="2719"/>
              <a:ext cx="185" cy="178"/>
            </a:xfrm>
            <a:custGeom>
              <a:avLst/>
              <a:gdLst>
                <a:gd name="G0" fmla="*/ 178 206 1"/>
                <a:gd name="G1" fmla="*/ G0 1 206"/>
                <a:gd name="G2" fmla="*/ 1 0 51712"/>
                <a:gd name="G3" fmla="*/ G2 198 1"/>
                <a:gd name="G4" fmla="*/ G3 1 198"/>
                <a:gd name="G5" fmla="*/ 28 206 1"/>
                <a:gd name="G6" fmla="*/ G5 1 206"/>
                <a:gd name="G7" fmla="*/ 1 0 51712"/>
                <a:gd name="G8" fmla="*/ G7 198 1"/>
                <a:gd name="G9" fmla="*/ G8 1 198"/>
                <a:gd name="G10" fmla="*/ 1 0 51712"/>
                <a:gd name="G11" fmla="*/ G10 206 1"/>
                <a:gd name="G12" fmla="*/ G11 1 206"/>
                <a:gd name="G13" fmla="*/ 28 198 1"/>
                <a:gd name="G14" fmla="*/ G13 1 198"/>
                <a:gd name="G15" fmla="*/ 1 0 51712"/>
                <a:gd name="G16" fmla="*/ G15 206 1"/>
                <a:gd name="G17" fmla="*/ G16 1 206"/>
                <a:gd name="G18" fmla="*/ 128 198 1"/>
                <a:gd name="G19" fmla="*/ G18 1 198"/>
                <a:gd name="G20" fmla="*/ 26 206 1"/>
                <a:gd name="G21" fmla="*/ G20 1 206"/>
                <a:gd name="G22" fmla="*/ 156 198 1"/>
                <a:gd name="G23" fmla="*/ G22 1 198"/>
                <a:gd name="G24" fmla="*/ 11 206 1"/>
                <a:gd name="G25" fmla="*/ G24 1 206"/>
                <a:gd name="G26" fmla="*/ 198 198 1"/>
                <a:gd name="G27" fmla="*/ G26 1 198"/>
                <a:gd name="G28" fmla="*/ 87 206 1"/>
                <a:gd name="G29" fmla="*/ G28 1 206"/>
                <a:gd name="G30" fmla="*/ 156 198 1"/>
                <a:gd name="G31" fmla="*/ G30 1 198"/>
                <a:gd name="G32" fmla="*/ 98 206 1"/>
                <a:gd name="G33" fmla="*/ G32 1 206"/>
                <a:gd name="G34" fmla="*/ 156 198 1"/>
                <a:gd name="G35" fmla="*/ G34 1 198"/>
                <a:gd name="G36" fmla="*/ 98 206 1"/>
                <a:gd name="G37" fmla="*/ G36 1 206"/>
                <a:gd name="G38" fmla="*/ 98 198 1"/>
                <a:gd name="G39" fmla="*/ G38 1 198"/>
                <a:gd name="G40" fmla="*/ 143 206 1"/>
                <a:gd name="G41" fmla="*/ G40 1 206"/>
                <a:gd name="G42" fmla="*/ 53 198 1"/>
                <a:gd name="G43" fmla="*/ G42 1 198"/>
                <a:gd name="G44" fmla="*/ 206 206 1"/>
                <a:gd name="G45" fmla="*/ G44 1 206"/>
                <a:gd name="G46" fmla="*/ 53 198 1"/>
                <a:gd name="G47" fmla="*/ G46 1 198"/>
                <a:gd name="G48" fmla="*/ 206 206 1"/>
                <a:gd name="G49" fmla="*/ G48 1 206"/>
                <a:gd name="G50" fmla="*/ 28 198 1"/>
                <a:gd name="G51" fmla="*/ G50 1 198"/>
                <a:gd name="G52" fmla="*/ 178 206 1"/>
                <a:gd name="G53" fmla="*/ G52 1 206"/>
                <a:gd name="G54" fmla="*/ 1 0 51712"/>
                <a:gd name="G55" fmla="*/ G54 198 1"/>
                <a:gd name="G56" fmla="*/ G55 1 198"/>
                <a:gd name="G57" fmla="*/ 60 206 1"/>
                <a:gd name="G58" fmla="*/ G57 1 206"/>
                <a:gd name="G59" fmla="*/ 43 198 1"/>
                <a:gd name="G60" fmla="*/ G59 1 198"/>
                <a:gd name="G61" fmla="*/ 40 206 1"/>
                <a:gd name="G62" fmla="*/ G61 1 206"/>
                <a:gd name="G63" fmla="*/ 43 198 1"/>
                <a:gd name="G64" fmla="*/ G63 1 198"/>
                <a:gd name="G65" fmla="*/ 33 206 1"/>
                <a:gd name="G66" fmla="*/ G65 1 206"/>
                <a:gd name="G67" fmla="*/ 36 198 1"/>
                <a:gd name="G68" fmla="*/ G67 1 198"/>
                <a:gd name="G69" fmla="*/ 40 206 1"/>
                <a:gd name="G70" fmla="*/ G69 1 206"/>
                <a:gd name="G71" fmla="*/ 29 198 1"/>
                <a:gd name="G72" fmla="*/ G71 1 198"/>
                <a:gd name="G73" fmla="*/ 60 206 1"/>
                <a:gd name="G74" fmla="*/ G73 1 206"/>
                <a:gd name="G75" fmla="*/ 29 198 1"/>
                <a:gd name="G76" fmla="*/ G75 1 198"/>
                <a:gd name="G77" fmla="*/ 67 206 1"/>
                <a:gd name="G78" fmla="*/ G77 1 206"/>
                <a:gd name="G79" fmla="*/ 36 198 1"/>
                <a:gd name="G80" fmla="*/ G79 1 198"/>
                <a:gd name="G81" fmla="*/ 60 206 1"/>
                <a:gd name="G82" fmla="*/ G81 1 206"/>
                <a:gd name="G83" fmla="*/ 43 198 1"/>
                <a:gd name="G84" fmla="*/ G83 1 198"/>
                <a:gd name="G85" fmla="+- 206 0 0"/>
                <a:gd name="G86" fmla="+- 198 0 0"/>
              </a:gdLst>
              <a:ahLst/>
              <a:cxnLst>
                <a:cxn ang="0">
                  <a:pos x="178" y="0"/>
                </a:cxn>
                <a:cxn ang="0">
                  <a:pos x="28" y="0"/>
                </a:cxn>
                <a:cxn ang="0">
                  <a:pos x="0" y="28"/>
                </a:cxn>
                <a:cxn ang="0">
                  <a:pos x="0" y="128"/>
                </a:cxn>
                <a:cxn ang="0">
                  <a:pos x="26" y="156"/>
                </a:cxn>
                <a:cxn ang="0">
                  <a:pos x="11" y="198"/>
                </a:cxn>
                <a:cxn ang="0">
                  <a:pos x="87" y="156"/>
                </a:cxn>
                <a:cxn ang="0">
                  <a:pos x="98" y="156"/>
                </a:cxn>
                <a:cxn ang="0">
                  <a:pos x="98" y="98"/>
                </a:cxn>
                <a:cxn ang="0">
                  <a:pos x="143" y="53"/>
                </a:cxn>
                <a:cxn ang="0">
                  <a:pos x="206" y="53"/>
                </a:cxn>
                <a:cxn ang="0">
                  <a:pos x="206" y="28"/>
                </a:cxn>
                <a:cxn ang="0">
                  <a:pos x="178" y="0"/>
                </a:cxn>
                <a:cxn ang="0">
                  <a:pos x="60" y="43"/>
                </a:cxn>
                <a:cxn ang="0">
                  <a:pos x="40" y="43"/>
                </a:cxn>
                <a:cxn ang="0">
                  <a:pos x="33" y="36"/>
                </a:cxn>
                <a:cxn ang="0">
                  <a:pos x="40" y="29"/>
                </a:cxn>
                <a:cxn ang="0">
                  <a:pos x="60" y="29"/>
                </a:cxn>
                <a:cxn ang="0">
                  <a:pos x="67" y="36"/>
                </a:cxn>
                <a:cxn ang="0">
                  <a:pos x="60" y="43"/>
                </a:cxn>
              </a:cxnLst>
              <a:rect l="0" t="0" r="r" b="b"/>
              <a:pathLst>
                <a:path w="206" h="198">
                  <a:moveTo>
                    <a:pt x="178" y="0"/>
                  </a:moveTo>
                  <a:cubicBezTo>
                    <a:pt x="28" y="0"/>
                    <a:pt x="28" y="0"/>
                    <a:pt x="28" y="0"/>
                  </a:cubicBezTo>
                  <a:cubicBezTo>
                    <a:pt x="12" y="0"/>
                    <a:pt x="0" y="13"/>
                    <a:pt x="0" y="28"/>
                  </a:cubicBezTo>
                  <a:cubicBezTo>
                    <a:pt x="0" y="128"/>
                    <a:pt x="0" y="128"/>
                    <a:pt x="0" y="128"/>
                  </a:cubicBezTo>
                  <a:cubicBezTo>
                    <a:pt x="0" y="143"/>
                    <a:pt x="11" y="155"/>
                    <a:pt x="26" y="156"/>
                  </a:cubicBezTo>
                  <a:cubicBezTo>
                    <a:pt x="11" y="198"/>
                    <a:pt x="11" y="198"/>
                    <a:pt x="11" y="198"/>
                  </a:cubicBezTo>
                  <a:cubicBezTo>
                    <a:pt x="87" y="156"/>
                    <a:pt x="87" y="156"/>
                    <a:pt x="87" y="156"/>
                  </a:cubicBezTo>
                  <a:cubicBezTo>
                    <a:pt x="98" y="156"/>
                    <a:pt x="98" y="156"/>
                    <a:pt x="98" y="156"/>
                  </a:cubicBezTo>
                  <a:cubicBezTo>
                    <a:pt x="98" y="98"/>
                    <a:pt x="98" y="98"/>
                    <a:pt x="98" y="98"/>
                  </a:cubicBezTo>
                  <a:cubicBezTo>
                    <a:pt x="98" y="73"/>
                    <a:pt x="118" y="53"/>
                    <a:pt x="143" y="53"/>
                  </a:cubicBezTo>
                  <a:cubicBezTo>
                    <a:pt x="206" y="53"/>
                    <a:pt x="206" y="53"/>
                    <a:pt x="206" y="53"/>
                  </a:cubicBezTo>
                  <a:cubicBezTo>
                    <a:pt x="206" y="28"/>
                    <a:pt x="206" y="28"/>
                    <a:pt x="206" y="28"/>
                  </a:cubicBezTo>
                  <a:cubicBezTo>
                    <a:pt x="206" y="13"/>
                    <a:pt x="193" y="0"/>
                    <a:pt x="178" y="0"/>
                  </a:cubicBezTo>
                  <a:close/>
                  <a:moveTo>
                    <a:pt x="60" y="43"/>
                  </a:moveTo>
                  <a:cubicBezTo>
                    <a:pt x="40" y="43"/>
                    <a:pt x="40" y="43"/>
                    <a:pt x="40" y="43"/>
                  </a:cubicBezTo>
                  <a:cubicBezTo>
                    <a:pt x="37" y="43"/>
                    <a:pt x="33" y="40"/>
                    <a:pt x="33" y="36"/>
                  </a:cubicBezTo>
                  <a:cubicBezTo>
                    <a:pt x="33" y="32"/>
                    <a:pt x="37" y="29"/>
                    <a:pt x="40" y="29"/>
                  </a:cubicBezTo>
                  <a:cubicBezTo>
                    <a:pt x="60" y="29"/>
                    <a:pt x="60" y="29"/>
                    <a:pt x="60" y="29"/>
                  </a:cubicBezTo>
                  <a:cubicBezTo>
                    <a:pt x="64" y="29"/>
                    <a:pt x="67" y="32"/>
                    <a:pt x="67" y="36"/>
                  </a:cubicBezTo>
                  <a:cubicBezTo>
                    <a:pt x="67" y="40"/>
                    <a:pt x="64" y="43"/>
                    <a:pt x="60" y="43"/>
                  </a:cubicBezTo>
                  <a:close/>
                </a:path>
              </a:pathLst>
            </a:custGeom>
            <a:solidFill>
              <a:srgbClr val="8E8581"/>
            </a:solidFill>
            <a:ln w="9525">
              <a:noFill/>
              <a:round/>
              <a:headEnd/>
              <a:tailEnd/>
            </a:ln>
            <a:effectLst/>
          </p:spPr>
          <p:txBody>
            <a:bodyPr wrap="none" anchor="ctr">
              <a:prstTxWarp prst="textNoShape">
                <a:avLst/>
              </a:prstTxWarp>
            </a:bodyPr>
            <a:lstStyle/>
            <a:p>
              <a:endParaRPr lang="de-CH"/>
            </a:p>
          </p:txBody>
        </p:sp>
        <p:sp>
          <p:nvSpPr>
            <p:cNvPr id="9221" name="Freeform 5"/>
            <p:cNvSpPr>
              <a:spLocks noChangeArrowheads="1"/>
            </p:cNvSpPr>
            <p:nvPr/>
          </p:nvSpPr>
          <p:spPr bwMode="auto">
            <a:xfrm>
              <a:off x="659" y="2681"/>
              <a:ext cx="228" cy="222"/>
            </a:xfrm>
            <a:custGeom>
              <a:avLst/>
              <a:gdLst>
                <a:gd name="G0" fmla="*/ 219 253 1"/>
                <a:gd name="G1" fmla="*/ G0 1 253"/>
                <a:gd name="G2" fmla="*/ 1 0 51712"/>
                <a:gd name="G3" fmla="*/ G2 247 1"/>
                <a:gd name="G4" fmla="*/ G3 1 247"/>
                <a:gd name="G5" fmla="*/ 34 253 1"/>
                <a:gd name="G6" fmla="*/ G5 1 253"/>
                <a:gd name="G7" fmla="*/ 1 0 51712"/>
                <a:gd name="G8" fmla="*/ G7 247 1"/>
                <a:gd name="G9" fmla="*/ G8 1 247"/>
                <a:gd name="G10" fmla="*/ 1 0 51712"/>
                <a:gd name="G11" fmla="*/ G10 253 1"/>
                <a:gd name="G12" fmla="*/ G11 1 253"/>
                <a:gd name="G13" fmla="*/ 34 247 1"/>
                <a:gd name="G14" fmla="*/ G13 1 247"/>
                <a:gd name="G15" fmla="*/ 1 0 51712"/>
                <a:gd name="G16" fmla="*/ G15 253 1"/>
                <a:gd name="G17" fmla="*/ G16 1 253"/>
                <a:gd name="G18" fmla="*/ 95 247 1"/>
                <a:gd name="G19" fmla="*/ G18 1 247"/>
                <a:gd name="G20" fmla="*/ 85 253 1"/>
                <a:gd name="G21" fmla="*/ G20 1 253"/>
                <a:gd name="G22" fmla="*/ 95 247 1"/>
                <a:gd name="G23" fmla="*/ G22 1 247"/>
                <a:gd name="G24" fmla="*/ 130 253 1"/>
                <a:gd name="G25" fmla="*/ G24 1 253"/>
                <a:gd name="G26" fmla="*/ 140 247 1"/>
                <a:gd name="G27" fmla="*/ G26 1 247"/>
                <a:gd name="G28" fmla="*/ 130 253 1"/>
                <a:gd name="G29" fmla="*/ G28 1 253"/>
                <a:gd name="G30" fmla="*/ 191 247 1"/>
                <a:gd name="G31" fmla="*/ G30 1 247"/>
                <a:gd name="G32" fmla="*/ 131 253 1"/>
                <a:gd name="G33" fmla="*/ G32 1 253"/>
                <a:gd name="G34" fmla="*/ 191 247 1"/>
                <a:gd name="G35" fmla="*/ G34 1 247"/>
                <a:gd name="G36" fmla="*/ 232 253 1"/>
                <a:gd name="G37" fmla="*/ G36 1 253"/>
                <a:gd name="G38" fmla="*/ 247 247 1"/>
                <a:gd name="G39" fmla="*/ G38 1 247"/>
                <a:gd name="G40" fmla="*/ 212 253 1"/>
                <a:gd name="G41" fmla="*/ G40 1 253"/>
                <a:gd name="G42" fmla="*/ 191 247 1"/>
                <a:gd name="G43" fmla="*/ G42 1 247"/>
                <a:gd name="G44" fmla="*/ 219 253 1"/>
                <a:gd name="G45" fmla="*/ G44 1 253"/>
                <a:gd name="G46" fmla="*/ 191 247 1"/>
                <a:gd name="G47" fmla="*/ G46 1 247"/>
                <a:gd name="G48" fmla="*/ 253 253 1"/>
                <a:gd name="G49" fmla="*/ G48 1 253"/>
                <a:gd name="G50" fmla="*/ 157 247 1"/>
                <a:gd name="G51" fmla="*/ G50 1 247"/>
                <a:gd name="G52" fmla="*/ 253 253 1"/>
                <a:gd name="G53" fmla="*/ G52 1 253"/>
                <a:gd name="G54" fmla="*/ 34 247 1"/>
                <a:gd name="G55" fmla="*/ G54 1 247"/>
                <a:gd name="G56" fmla="*/ 219 253 1"/>
                <a:gd name="G57" fmla="*/ G56 1 253"/>
                <a:gd name="G58" fmla="*/ 1 0 51712"/>
                <a:gd name="G59" fmla="*/ G58 247 1"/>
                <a:gd name="G60" fmla="*/ G59 1 247"/>
                <a:gd name="G61" fmla="*/ 86 253 1"/>
                <a:gd name="G62" fmla="*/ G61 1 253"/>
                <a:gd name="G63" fmla="*/ 49 247 1"/>
                <a:gd name="G64" fmla="*/ G63 1 247"/>
                <a:gd name="G65" fmla="*/ 48 253 1"/>
                <a:gd name="G66" fmla="*/ G65 1 253"/>
                <a:gd name="G67" fmla="*/ 49 247 1"/>
                <a:gd name="G68" fmla="*/ G67 1 247"/>
                <a:gd name="G69" fmla="*/ 41 253 1"/>
                <a:gd name="G70" fmla="*/ G69 1 253"/>
                <a:gd name="G71" fmla="*/ 42 247 1"/>
                <a:gd name="G72" fmla="*/ G71 1 247"/>
                <a:gd name="G73" fmla="*/ 48 253 1"/>
                <a:gd name="G74" fmla="*/ G73 1 253"/>
                <a:gd name="G75" fmla="*/ 35 247 1"/>
                <a:gd name="G76" fmla="*/ G75 1 247"/>
                <a:gd name="G77" fmla="*/ 86 253 1"/>
                <a:gd name="G78" fmla="*/ G77 1 253"/>
                <a:gd name="G79" fmla="*/ 35 247 1"/>
                <a:gd name="G80" fmla="*/ G79 1 247"/>
                <a:gd name="G81" fmla="*/ 93 253 1"/>
                <a:gd name="G82" fmla="*/ G81 1 253"/>
                <a:gd name="G83" fmla="*/ 42 247 1"/>
                <a:gd name="G84" fmla="*/ G83 1 247"/>
                <a:gd name="G85" fmla="*/ 86 253 1"/>
                <a:gd name="G86" fmla="*/ G85 1 253"/>
                <a:gd name="G87" fmla="*/ 49 247 1"/>
                <a:gd name="G88" fmla="*/ G87 1 247"/>
                <a:gd name="G89" fmla="+- 253 0 0"/>
                <a:gd name="G90" fmla="+- 247 0 0"/>
              </a:gdLst>
              <a:ahLst/>
              <a:cxnLst>
                <a:cxn ang="0">
                  <a:pos x="219" y="0"/>
                </a:cxn>
                <a:cxn ang="0">
                  <a:pos x="34" y="0"/>
                </a:cxn>
                <a:cxn ang="0">
                  <a:pos x="0" y="34"/>
                </a:cxn>
                <a:cxn ang="0">
                  <a:pos x="0" y="95"/>
                </a:cxn>
                <a:cxn ang="0">
                  <a:pos x="85" y="95"/>
                </a:cxn>
                <a:cxn ang="0">
                  <a:pos x="130" y="140"/>
                </a:cxn>
                <a:cxn ang="0">
                  <a:pos x="130" y="191"/>
                </a:cxn>
                <a:cxn ang="0">
                  <a:pos x="131" y="191"/>
                </a:cxn>
                <a:cxn ang="0">
                  <a:pos x="232" y="247"/>
                </a:cxn>
                <a:cxn ang="0">
                  <a:pos x="212" y="191"/>
                </a:cxn>
                <a:cxn ang="0">
                  <a:pos x="219" y="191"/>
                </a:cxn>
                <a:cxn ang="0">
                  <a:pos x="253" y="157"/>
                </a:cxn>
                <a:cxn ang="0">
                  <a:pos x="253" y="34"/>
                </a:cxn>
                <a:cxn ang="0">
                  <a:pos x="219" y="0"/>
                </a:cxn>
                <a:cxn ang="0">
                  <a:pos x="86" y="49"/>
                </a:cxn>
                <a:cxn ang="0">
                  <a:pos x="48" y="49"/>
                </a:cxn>
                <a:cxn ang="0">
                  <a:pos x="41" y="42"/>
                </a:cxn>
                <a:cxn ang="0">
                  <a:pos x="48" y="35"/>
                </a:cxn>
                <a:cxn ang="0">
                  <a:pos x="86" y="35"/>
                </a:cxn>
                <a:cxn ang="0">
                  <a:pos x="93" y="42"/>
                </a:cxn>
                <a:cxn ang="0">
                  <a:pos x="86" y="49"/>
                </a:cxn>
              </a:cxnLst>
              <a:rect l="0" t="0" r="r" b="b"/>
              <a:pathLst>
                <a:path w="253" h="247">
                  <a:moveTo>
                    <a:pt x="219" y="0"/>
                  </a:moveTo>
                  <a:cubicBezTo>
                    <a:pt x="34" y="0"/>
                    <a:pt x="34" y="0"/>
                    <a:pt x="34" y="0"/>
                  </a:cubicBezTo>
                  <a:cubicBezTo>
                    <a:pt x="15" y="0"/>
                    <a:pt x="0" y="15"/>
                    <a:pt x="0" y="34"/>
                  </a:cubicBezTo>
                  <a:cubicBezTo>
                    <a:pt x="0" y="95"/>
                    <a:pt x="0" y="95"/>
                    <a:pt x="0" y="95"/>
                  </a:cubicBezTo>
                  <a:cubicBezTo>
                    <a:pt x="85" y="95"/>
                    <a:pt x="85" y="95"/>
                    <a:pt x="85" y="95"/>
                  </a:cubicBezTo>
                  <a:cubicBezTo>
                    <a:pt x="110" y="95"/>
                    <a:pt x="130" y="115"/>
                    <a:pt x="130" y="140"/>
                  </a:cubicBezTo>
                  <a:cubicBezTo>
                    <a:pt x="130" y="191"/>
                    <a:pt x="130" y="191"/>
                    <a:pt x="130" y="191"/>
                  </a:cubicBezTo>
                  <a:cubicBezTo>
                    <a:pt x="131" y="191"/>
                    <a:pt x="131" y="191"/>
                    <a:pt x="131" y="191"/>
                  </a:cubicBezTo>
                  <a:cubicBezTo>
                    <a:pt x="232" y="247"/>
                    <a:pt x="232" y="247"/>
                    <a:pt x="232" y="247"/>
                  </a:cubicBezTo>
                  <a:cubicBezTo>
                    <a:pt x="212" y="191"/>
                    <a:pt x="212" y="191"/>
                    <a:pt x="212" y="191"/>
                  </a:cubicBezTo>
                  <a:cubicBezTo>
                    <a:pt x="219" y="191"/>
                    <a:pt x="219" y="191"/>
                    <a:pt x="219" y="191"/>
                  </a:cubicBezTo>
                  <a:cubicBezTo>
                    <a:pt x="238" y="191"/>
                    <a:pt x="253" y="176"/>
                    <a:pt x="253" y="157"/>
                  </a:cubicBezTo>
                  <a:cubicBezTo>
                    <a:pt x="253" y="34"/>
                    <a:pt x="253" y="34"/>
                    <a:pt x="253" y="34"/>
                  </a:cubicBezTo>
                  <a:cubicBezTo>
                    <a:pt x="253" y="15"/>
                    <a:pt x="238" y="0"/>
                    <a:pt x="219" y="0"/>
                  </a:cubicBezTo>
                  <a:close/>
                  <a:moveTo>
                    <a:pt x="86" y="49"/>
                  </a:moveTo>
                  <a:cubicBezTo>
                    <a:pt x="48" y="49"/>
                    <a:pt x="48" y="49"/>
                    <a:pt x="48" y="49"/>
                  </a:cubicBezTo>
                  <a:cubicBezTo>
                    <a:pt x="44" y="49"/>
                    <a:pt x="41" y="46"/>
                    <a:pt x="41" y="42"/>
                  </a:cubicBezTo>
                  <a:cubicBezTo>
                    <a:pt x="41" y="38"/>
                    <a:pt x="44" y="35"/>
                    <a:pt x="48" y="35"/>
                  </a:cubicBezTo>
                  <a:cubicBezTo>
                    <a:pt x="86" y="35"/>
                    <a:pt x="86" y="35"/>
                    <a:pt x="86" y="35"/>
                  </a:cubicBezTo>
                  <a:cubicBezTo>
                    <a:pt x="90" y="35"/>
                    <a:pt x="93" y="38"/>
                    <a:pt x="93" y="42"/>
                  </a:cubicBezTo>
                  <a:cubicBezTo>
                    <a:pt x="93" y="46"/>
                    <a:pt x="90" y="49"/>
                    <a:pt x="86" y="49"/>
                  </a:cubicBezTo>
                  <a:close/>
                </a:path>
              </a:pathLst>
            </a:custGeom>
            <a:solidFill>
              <a:srgbClr val="8E8581"/>
            </a:solidFill>
            <a:ln w="9525">
              <a:noFill/>
              <a:round/>
              <a:headEnd/>
              <a:tailEnd/>
            </a:ln>
            <a:effectLst/>
          </p:spPr>
          <p:txBody>
            <a:bodyPr wrap="none" anchor="ctr">
              <a:prstTxWarp prst="textNoShape">
                <a:avLst/>
              </a:prstTxWarp>
            </a:bodyPr>
            <a:lstStyle/>
            <a:p>
              <a:endParaRPr lang="de-CH"/>
            </a:p>
          </p:txBody>
        </p:sp>
      </p:grpSp>
      <p:sp>
        <p:nvSpPr>
          <p:cNvPr id="9222" name="Text Box 6"/>
          <p:cNvSpPr txBox="1">
            <a:spLocks noChangeArrowheads="1"/>
          </p:cNvSpPr>
          <p:nvPr/>
        </p:nvSpPr>
        <p:spPr bwMode="auto">
          <a:xfrm>
            <a:off x="323850" y="195263"/>
            <a:ext cx="6408738" cy="576262"/>
          </a:xfrm>
          <a:prstGeom prst="rect">
            <a:avLst/>
          </a:prstGeom>
          <a:noFill/>
          <a:ln w="9525">
            <a:noFill/>
            <a:round/>
            <a:headEnd/>
            <a:tailEnd/>
          </a:ln>
          <a:effectLst/>
        </p:spPr>
        <p:txBody>
          <a:bodyPr lIns="0" tIns="0" rIns="0" bIns="0" anchor="b">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en-US">
                <a:solidFill>
                  <a:srgbClr val="000000"/>
                </a:solidFill>
                <a:ea typeface="Arial Unicode MS" charset="0"/>
                <a:cs typeface="Arial Unicode MS" charset="0"/>
              </a:rPr>
              <a:t>Wer sind wir?</a:t>
            </a:r>
          </a:p>
        </p:txBody>
      </p:sp>
      <p:sp>
        <p:nvSpPr>
          <p:cNvPr id="9224" name="AutoShape 8"/>
          <p:cNvSpPr>
            <a:spLocks noChangeArrowheads="1"/>
          </p:cNvSpPr>
          <p:nvPr/>
        </p:nvSpPr>
        <p:spPr bwMode="auto">
          <a:xfrm>
            <a:off x="3695700" y="1317625"/>
            <a:ext cx="1692275" cy="458788"/>
          </a:xfrm>
          <a:prstGeom prst="roundRect">
            <a:avLst>
              <a:gd name="adj" fmla="val 16667"/>
            </a:avLst>
          </a:prstGeom>
          <a:solidFill>
            <a:srgbClr val="264283"/>
          </a:solidFill>
          <a:ln w="9360">
            <a:solidFill>
              <a:srgbClr val="264283"/>
            </a:solidFill>
            <a:round/>
            <a:headEnd/>
            <a:tailEnd/>
          </a:ln>
          <a:effectLst/>
        </p:spPr>
        <p:txBody>
          <a:bodyPr lIns="36000" rIns="36000" anchor="ctr">
            <a:prstTxWarp prst="textNoShape">
              <a:avLst/>
            </a:prstTxWarp>
          </a:bodyPr>
          <a:lstStyle/>
          <a:p>
            <a:pPr algn="ctr" hangingPunct="1">
              <a:lnSpc>
                <a:spcPct val="100000"/>
              </a:lnSpc>
              <a:spcBef>
                <a:spcPts val="300"/>
              </a:spcBef>
              <a:tabLst>
                <a:tab pos="723900" algn="l"/>
                <a:tab pos="1447800" algn="l"/>
              </a:tabLst>
            </a:pPr>
            <a:r>
              <a:rPr lang="de-DE" sz="1000">
                <a:solidFill>
                  <a:srgbClr val="FFFFFF"/>
                </a:solidFill>
                <a:ea typeface="Arial Unicode MS" charset="0"/>
                <a:cs typeface="Arial Unicode MS" charset="0"/>
              </a:rPr>
              <a:t>Saalschutz; </a:t>
            </a:r>
          </a:p>
          <a:p>
            <a:pPr algn="ctr" hangingPunct="1">
              <a:lnSpc>
                <a:spcPct val="100000"/>
              </a:lnSpc>
              <a:spcBef>
                <a:spcPts val="300"/>
              </a:spcBef>
              <a:tabLst>
                <a:tab pos="723900" algn="l"/>
                <a:tab pos="1447800" algn="l"/>
              </a:tabLst>
            </a:pPr>
            <a:r>
              <a:rPr lang="de-DE" sz="1000">
                <a:solidFill>
                  <a:srgbClr val="FFFFFF"/>
                </a:solidFill>
                <a:ea typeface="Arial Unicode MS" charset="0"/>
                <a:cs typeface="Arial Unicode MS" charset="0"/>
              </a:rPr>
              <a:t>Amphibientunnel</a:t>
            </a:r>
          </a:p>
        </p:txBody>
      </p:sp>
      <p:sp>
        <p:nvSpPr>
          <p:cNvPr id="9225" name="AutoShape 9"/>
          <p:cNvSpPr>
            <a:spLocks noChangeArrowheads="1"/>
          </p:cNvSpPr>
          <p:nvPr/>
        </p:nvSpPr>
        <p:spPr bwMode="auto">
          <a:xfrm>
            <a:off x="622300" y="1317625"/>
            <a:ext cx="1692275" cy="441325"/>
          </a:xfrm>
          <a:prstGeom prst="roundRect">
            <a:avLst>
              <a:gd name="adj" fmla="val 16667"/>
            </a:avLst>
          </a:prstGeom>
          <a:solidFill>
            <a:srgbClr val="E55A00"/>
          </a:solidFill>
          <a:ln w="9360">
            <a:solidFill>
              <a:srgbClr val="E55A00"/>
            </a:solidFill>
            <a:round/>
            <a:headEnd/>
            <a:tailEnd/>
          </a:ln>
          <a:effectLst/>
        </p:spPr>
        <p:txBody>
          <a:bodyPr lIns="36000" rIns="36000" anchor="ctr">
            <a:prstTxWarp prst="textNoShape">
              <a:avLst/>
            </a:prstTxWarp>
          </a:bodyPr>
          <a:lstStyle/>
          <a:p>
            <a:pPr algn="ctr" hangingPunct="1">
              <a:lnSpc>
                <a:spcPct val="100000"/>
              </a:lnSpc>
              <a:spcBef>
                <a:spcPts val="300"/>
              </a:spcBef>
              <a:tabLst>
                <a:tab pos="723900" algn="l"/>
                <a:tab pos="1447800" algn="l"/>
              </a:tabLst>
            </a:pPr>
            <a:r>
              <a:rPr lang="de-DE" sz="1000">
                <a:solidFill>
                  <a:srgbClr val="FFFFFF"/>
                </a:solidFill>
                <a:ea typeface="Arial Unicode MS" charset="0"/>
                <a:cs typeface="Arial Unicode MS" charset="0"/>
              </a:rPr>
              <a:t>Sand 11, Ladomat, Kolossale Jugend, etc</a:t>
            </a:r>
          </a:p>
        </p:txBody>
      </p:sp>
      <p:sp>
        <p:nvSpPr>
          <p:cNvPr id="9226" name="Rectangle 10"/>
          <p:cNvSpPr>
            <a:spLocks noChangeArrowheads="1"/>
          </p:cNvSpPr>
          <p:nvPr/>
        </p:nvSpPr>
        <p:spPr bwMode="auto">
          <a:xfrm>
            <a:off x="3314700" y="4002088"/>
            <a:ext cx="2844800" cy="274637"/>
          </a:xfrm>
          <a:prstGeom prst="rect">
            <a:avLst/>
          </a:prstGeom>
          <a:noFill/>
          <a:ln w="9525">
            <a:noFill/>
            <a:round/>
            <a:headEnd/>
            <a:tailEnd/>
          </a:ln>
          <a:effectLst/>
        </p:spPr>
        <p:txBody>
          <a:bodyPr lIns="0" tIns="0" rIns="0" bIns="0">
            <a:prstTxWarp prst="textNoShape">
              <a:avLst/>
            </a:prstTxWarp>
            <a:spAutoFit/>
          </a:bodyPr>
          <a:lstStyle/>
          <a:p>
            <a:pPr algn="ctr" hangingPunct="1">
              <a:lnSpc>
                <a:spcPct val="100000"/>
              </a:lnSpc>
              <a:spcBef>
                <a:spcPts val="300"/>
              </a:spcBef>
              <a:tabLst>
                <a:tab pos="723900" algn="l"/>
                <a:tab pos="1447800" algn="l"/>
                <a:tab pos="2171700" algn="l"/>
              </a:tabLst>
            </a:pPr>
            <a:r>
              <a:rPr lang="de-DE" b="1">
                <a:solidFill>
                  <a:srgbClr val="E55A00"/>
                </a:solidFill>
                <a:ea typeface="Arial Unicode MS" charset="0"/>
                <a:cs typeface="Arial Unicode MS" charset="0"/>
              </a:rPr>
              <a:t>Erneuerbare Energien</a:t>
            </a:r>
          </a:p>
        </p:txBody>
      </p:sp>
      <p:sp>
        <p:nvSpPr>
          <p:cNvPr id="9227" name="AutoShape 11"/>
          <p:cNvSpPr>
            <a:spLocks noChangeArrowheads="1"/>
          </p:cNvSpPr>
          <p:nvPr/>
        </p:nvSpPr>
        <p:spPr bwMode="auto">
          <a:xfrm>
            <a:off x="6819900" y="1317625"/>
            <a:ext cx="1689100" cy="458788"/>
          </a:xfrm>
          <a:prstGeom prst="roundRect">
            <a:avLst>
              <a:gd name="adj" fmla="val 16667"/>
            </a:avLst>
          </a:prstGeom>
          <a:solidFill>
            <a:srgbClr val="798200"/>
          </a:solidFill>
          <a:ln w="9360">
            <a:solidFill>
              <a:srgbClr val="798200"/>
            </a:solidFill>
            <a:round/>
            <a:headEnd/>
            <a:tailEnd/>
          </a:ln>
          <a:effectLst/>
        </p:spPr>
        <p:txBody>
          <a:bodyPr lIns="36000" rIns="36000" anchor="ctr">
            <a:prstTxWarp prst="textNoShape">
              <a:avLst/>
            </a:prstTxWarp>
          </a:bodyPr>
          <a:lstStyle/>
          <a:p>
            <a:pPr algn="ctr" hangingPunct="1">
              <a:lnSpc>
                <a:spcPct val="100000"/>
              </a:lnSpc>
              <a:spcBef>
                <a:spcPts val="300"/>
              </a:spcBef>
              <a:tabLst>
                <a:tab pos="723900" algn="l"/>
                <a:tab pos="1447800" algn="l"/>
              </a:tabLst>
            </a:pPr>
            <a:r>
              <a:rPr lang="de-DE" sz="1000" dirty="0">
                <a:solidFill>
                  <a:srgbClr val="FFFFFF"/>
                </a:solidFill>
                <a:ea typeface="Arial Unicode MS" charset="0"/>
                <a:cs typeface="Arial Unicode MS" charset="0"/>
              </a:rPr>
              <a:t>Bürgermeister der Nacht; Krautzungen Kollektiv</a:t>
            </a:r>
          </a:p>
        </p:txBody>
      </p:sp>
      <p:grpSp>
        <p:nvGrpSpPr>
          <p:cNvPr id="9229" name="Group 13"/>
          <p:cNvGrpSpPr>
            <a:grpSpLocks/>
          </p:cNvGrpSpPr>
          <p:nvPr/>
        </p:nvGrpSpPr>
        <p:grpSpPr bwMode="auto">
          <a:xfrm>
            <a:off x="1473200" y="3303588"/>
            <a:ext cx="214313" cy="266700"/>
            <a:chOff x="928" y="2081"/>
            <a:chExt cx="135" cy="168"/>
          </a:xfrm>
        </p:grpSpPr>
        <p:sp>
          <p:nvSpPr>
            <p:cNvPr id="9230" name="Freeform 14"/>
            <p:cNvSpPr>
              <a:spLocks noChangeArrowheads="1"/>
            </p:cNvSpPr>
            <p:nvPr/>
          </p:nvSpPr>
          <p:spPr bwMode="auto">
            <a:xfrm>
              <a:off x="984" y="2081"/>
              <a:ext cx="78" cy="168"/>
            </a:xfrm>
            <a:custGeom>
              <a:avLst/>
              <a:gdLst>
                <a:gd name="G0" fmla="*/ 44 56 1"/>
                <a:gd name="G1" fmla="*/ G0 1 56"/>
                <a:gd name="G2" fmla="*/ 49 120 1"/>
                <a:gd name="G3" fmla="*/ G2 1 120"/>
                <a:gd name="G4" fmla="*/ 44 56 1"/>
                <a:gd name="G5" fmla="*/ G4 1 56"/>
                <a:gd name="G6" fmla="*/ 49 120 1"/>
                <a:gd name="G7" fmla="*/ G6 1 120"/>
                <a:gd name="G8" fmla="*/ 40 56 1"/>
                <a:gd name="G9" fmla="*/ G8 1 56"/>
                <a:gd name="G10" fmla="*/ 47 120 1"/>
                <a:gd name="G11" fmla="*/ G10 1 120"/>
                <a:gd name="G12" fmla="*/ 24 56 1"/>
                <a:gd name="G13" fmla="*/ G12 1 56"/>
                <a:gd name="G14" fmla="*/ 14 120 1"/>
                <a:gd name="G15" fmla="*/ G14 1 120"/>
                <a:gd name="G16" fmla="*/ 24 56 1"/>
                <a:gd name="G17" fmla="*/ G16 1 56"/>
                <a:gd name="G18" fmla="*/ 13 120 1"/>
                <a:gd name="G19" fmla="*/ G18 1 120"/>
                <a:gd name="G20" fmla="*/ 13 56 1"/>
                <a:gd name="G21" fmla="*/ G20 1 56"/>
                <a:gd name="G22" fmla="*/ 120 1 120"/>
                <a:gd name="G23" fmla="*/ 56 1 56"/>
                <a:gd name="G24" fmla="*/ 10 120 1"/>
                <a:gd name="G25" fmla="*/ G24 1 120"/>
                <a:gd name="G26" fmla="*/ 7 56 1"/>
                <a:gd name="G27" fmla="*/ G26 1 56"/>
                <a:gd name="G28" fmla="*/ 46 120 1"/>
                <a:gd name="G29" fmla="*/ G28 1 120"/>
                <a:gd name="G30" fmla="*/ 7 56 1"/>
                <a:gd name="G31" fmla="*/ G30 1 56"/>
                <a:gd name="G32" fmla="*/ 46 120 1"/>
                <a:gd name="G33" fmla="*/ G32 1 120"/>
                <a:gd name="G34" fmla="*/ 9 56 1"/>
                <a:gd name="G35" fmla="*/ G34 1 56"/>
                <a:gd name="G36" fmla="*/ 53 120 1"/>
                <a:gd name="G37" fmla="*/ G36 1 120"/>
                <a:gd name="G38" fmla="*/ 6 56 1"/>
                <a:gd name="G39" fmla="*/ G38 1 56"/>
                <a:gd name="G40" fmla="*/ 61 120 1"/>
                <a:gd name="G41" fmla="*/ G40 1 120"/>
                <a:gd name="G42" fmla="*/ 15 56 1"/>
                <a:gd name="G43" fmla="*/ G42 1 56"/>
                <a:gd name="G44" fmla="*/ 73 120 1"/>
                <a:gd name="G45" fmla="*/ G44 1 120"/>
                <a:gd name="G46" fmla="*/ 10 56 1"/>
                <a:gd name="G47" fmla="*/ G46 1 56"/>
                <a:gd name="G48" fmla="*/ 83 120 1"/>
                <a:gd name="G49" fmla="*/ G48 1 120"/>
                <a:gd name="G50" fmla="*/ 15 56 1"/>
                <a:gd name="G51" fmla="*/ G50 1 56"/>
                <a:gd name="G52" fmla="*/ 93 120 1"/>
                <a:gd name="G53" fmla="*/ G52 1 120"/>
                <a:gd name="G54" fmla="*/ 3 56 1"/>
                <a:gd name="G55" fmla="*/ G54 1 56"/>
                <a:gd name="G56" fmla="*/ 105 120 1"/>
                <a:gd name="G57" fmla="*/ G56 1 120"/>
                <a:gd name="G58" fmla="*/ 6 56 1"/>
                <a:gd name="G59" fmla="*/ G58 1 56"/>
                <a:gd name="G60" fmla="*/ 113 120 1"/>
                <a:gd name="G61" fmla="*/ G60 1 120"/>
                <a:gd name="G62" fmla="*/ 3 56 1"/>
                <a:gd name="G63" fmla="*/ G62 1 56"/>
                <a:gd name="G64" fmla="*/ 120 120 1"/>
                <a:gd name="G65" fmla="*/ G64 1 120"/>
                <a:gd name="G66" fmla="*/ 32 56 1"/>
                <a:gd name="G67" fmla="*/ G66 1 56"/>
                <a:gd name="G68" fmla="*/ 120 120 1"/>
                <a:gd name="G69" fmla="*/ G68 1 120"/>
                <a:gd name="G70" fmla="*/ 56 56 1"/>
                <a:gd name="G71" fmla="*/ G70 1 56"/>
                <a:gd name="G72" fmla="*/ 96 120 1"/>
                <a:gd name="G73" fmla="*/ G72 1 120"/>
                <a:gd name="G74" fmla="*/ 56 56 1"/>
                <a:gd name="G75" fmla="*/ G74 1 56"/>
                <a:gd name="G76" fmla="*/ 70 120 1"/>
                <a:gd name="G77" fmla="*/ G76 1 120"/>
                <a:gd name="G78" fmla="*/ 44 56 1"/>
                <a:gd name="G79" fmla="*/ G78 1 56"/>
                <a:gd name="G80" fmla="*/ 49 120 1"/>
                <a:gd name="G81" fmla="*/ G80 1 120"/>
                <a:gd name="G82" fmla="+- 56 0 0"/>
                <a:gd name="G83" fmla="+- 120 0 0"/>
              </a:gdLst>
              <a:ahLst/>
              <a:cxnLst>
                <a:cxn ang="0">
                  <a:pos x="44" y="49"/>
                </a:cxn>
                <a:cxn ang="0">
                  <a:pos x="44" y="49"/>
                </a:cxn>
                <a:cxn ang="0">
                  <a:pos x="40" y="47"/>
                </a:cxn>
                <a:cxn ang="0">
                  <a:pos x="24" y="14"/>
                </a:cxn>
                <a:cxn ang="0">
                  <a:pos x="24" y="13"/>
                </a:cxn>
                <a:cxn ang="0">
                  <a:pos x="13" y="1"/>
                </a:cxn>
                <a:cxn ang="0">
                  <a:pos x="1" y="10"/>
                </a:cxn>
                <a:cxn ang="0">
                  <a:pos x="7" y="46"/>
                </a:cxn>
                <a:cxn ang="0">
                  <a:pos x="7" y="46"/>
                </a:cxn>
                <a:cxn ang="0">
                  <a:pos x="9" y="53"/>
                </a:cxn>
                <a:cxn ang="0">
                  <a:pos x="6" y="61"/>
                </a:cxn>
                <a:cxn ang="0">
                  <a:pos x="15" y="73"/>
                </a:cxn>
                <a:cxn ang="0">
                  <a:pos x="10" y="83"/>
                </a:cxn>
                <a:cxn ang="0">
                  <a:pos x="15" y="93"/>
                </a:cxn>
                <a:cxn ang="0">
                  <a:pos x="3" y="105"/>
                </a:cxn>
                <a:cxn ang="0">
                  <a:pos x="6" y="113"/>
                </a:cxn>
                <a:cxn ang="0">
                  <a:pos x="3" y="120"/>
                </a:cxn>
                <a:cxn ang="0">
                  <a:pos x="32" y="120"/>
                </a:cxn>
                <a:cxn ang="0">
                  <a:pos x="56" y="96"/>
                </a:cxn>
                <a:cxn ang="0">
                  <a:pos x="56" y="70"/>
                </a:cxn>
                <a:cxn ang="0">
                  <a:pos x="44" y="49"/>
                </a:cxn>
              </a:cxnLst>
              <a:rect l="0" t="0" r="r" b="b"/>
              <a:pathLst>
                <a:path w="56" h="120">
                  <a:moveTo>
                    <a:pt x="44" y="49"/>
                  </a:moveTo>
                  <a:cubicBezTo>
                    <a:pt x="44" y="49"/>
                    <a:pt x="44" y="49"/>
                    <a:pt x="44" y="49"/>
                  </a:cubicBezTo>
                  <a:cubicBezTo>
                    <a:pt x="43" y="48"/>
                    <a:pt x="41" y="48"/>
                    <a:pt x="40" y="47"/>
                  </a:cubicBezTo>
                  <a:cubicBezTo>
                    <a:pt x="24" y="40"/>
                    <a:pt x="24" y="15"/>
                    <a:pt x="24" y="14"/>
                  </a:cubicBezTo>
                  <a:cubicBezTo>
                    <a:pt x="24" y="13"/>
                    <a:pt x="24" y="13"/>
                    <a:pt x="24" y="13"/>
                  </a:cubicBezTo>
                  <a:cubicBezTo>
                    <a:pt x="24" y="7"/>
                    <a:pt x="20" y="1"/>
                    <a:pt x="13" y="1"/>
                  </a:cubicBezTo>
                  <a:cubicBezTo>
                    <a:pt x="7" y="0"/>
                    <a:pt x="2" y="4"/>
                    <a:pt x="1" y="10"/>
                  </a:cubicBezTo>
                  <a:cubicBezTo>
                    <a:pt x="0" y="13"/>
                    <a:pt x="0" y="30"/>
                    <a:pt x="7" y="46"/>
                  </a:cubicBezTo>
                  <a:cubicBezTo>
                    <a:pt x="7" y="46"/>
                    <a:pt x="7" y="46"/>
                    <a:pt x="7" y="46"/>
                  </a:cubicBezTo>
                  <a:cubicBezTo>
                    <a:pt x="9" y="48"/>
                    <a:pt x="9" y="50"/>
                    <a:pt x="9" y="53"/>
                  </a:cubicBezTo>
                  <a:cubicBezTo>
                    <a:pt x="9" y="56"/>
                    <a:pt x="8" y="59"/>
                    <a:pt x="6" y="61"/>
                  </a:cubicBezTo>
                  <a:cubicBezTo>
                    <a:pt x="12" y="62"/>
                    <a:pt x="15" y="66"/>
                    <a:pt x="15" y="73"/>
                  </a:cubicBezTo>
                  <a:cubicBezTo>
                    <a:pt x="15" y="77"/>
                    <a:pt x="13" y="81"/>
                    <a:pt x="10" y="83"/>
                  </a:cubicBezTo>
                  <a:cubicBezTo>
                    <a:pt x="13" y="85"/>
                    <a:pt x="15" y="89"/>
                    <a:pt x="15" y="93"/>
                  </a:cubicBezTo>
                  <a:cubicBezTo>
                    <a:pt x="15" y="99"/>
                    <a:pt x="10" y="105"/>
                    <a:pt x="3" y="105"/>
                  </a:cubicBezTo>
                  <a:cubicBezTo>
                    <a:pt x="5" y="107"/>
                    <a:pt x="6" y="109"/>
                    <a:pt x="6" y="113"/>
                  </a:cubicBezTo>
                  <a:cubicBezTo>
                    <a:pt x="6" y="116"/>
                    <a:pt x="5" y="118"/>
                    <a:pt x="3" y="120"/>
                  </a:cubicBezTo>
                  <a:cubicBezTo>
                    <a:pt x="32" y="120"/>
                    <a:pt x="32" y="120"/>
                    <a:pt x="32" y="120"/>
                  </a:cubicBezTo>
                  <a:cubicBezTo>
                    <a:pt x="45" y="120"/>
                    <a:pt x="56" y="110"/>
                    <a:pt x="56" y="96"/>
                  </a:cubicBezTo>
                  <a:cubicBezTo>
                    <a:pt x="56" y="70"/>
                    <a:pt x="56" y="70"/>
                    <a:pt x="56" y="70"/>
                  </a:cubicBezTo>
                  <a:cubicBezTo>
                    <a:pt x="56" y="61"/>
                    <a:pt x="51" y="53"/>
                    <a:pt x="44" y="49"/>
                  </a:cubicBezTo>
                  <a:close/>
                </a:path>
              </a:pathLst>
            </a:custGeom>
            <a:noFill/>
            <a:ln w="9525">
              <a:noFill/>
              <a:round/>
              <a:headEnd/>
              <a:tailEnd/>
            </a:ln>
            <a:effectLst/>
          </p:spPr>
          <p:txBody>
            <a:bodyPr wrap="none" anchor="ctr">
              <a:prstTxWarp prst="textNoShape">
                <a:avLst/>
              </a:prstTxWarp>
            </a:bodyPr>
            <a:lstStyle/>
            <a:p>
              <a:endParaRPr lang="de-CH"/>
            </a:p>
          </p:txBody>
        </p:sp>
        <p:sp>
          <p:nvSpPr>
            <p:cNvPr id="9231" name="Freeform 15"/>
            <p:cNvSpPr>
              <a:spLocks noChangeArrowheads="1"/>
            </p:cNvSpPr>
            <p:nvPr/>
          </p:nvSpPr>
          <p:spPr bwMode="auto">
            <a:xfrm>
              <a:off x="948" y="2230"/>
              <a:ext cx="38" cy="20"/>
            </a:xfrm>
            <a:custGeom>
              <a:avLst/>
              <a:gdLst>
                <a:gd name="G0" fmla="*/ 20 28 1"/>
                <a:gd name="G1" fmla="*/ G0 1 28"/>
                <a:gd name="G2" fmla="*/ 1 0 51712"/>
                <a:gd name="G3" fmla="*/ G2 15 1"/>
                <a:gd name="G4" fmla="*/ G3 1 15"/>
                <a:gd name="G5" fmla="*/ 8 28 1"/>
                <a:gd name="G6" fmla="*/ G5 1 28"/>
                <a:gd name="G7" fmla="*/ 1 0 51712"/>
                <a:gd name="G8" fmla="*/ G7 15 1"/>
                <a:gd name="G9" fmla="*/ G8 1 15"/>
                <a:gd name="G10" fmla="*/ 1 0 51712"/>
                <a:gd name="G11" fmla="*/ G10 28 1"/>
                <a:gd name="G12" fmla="*/ G11 1 28"/>
                <a:gd name="G13" fmla="*/ 8 15 1"/>
                <a:gd name="G14" fmla="*/ G13 1 15"/>
                <a:gd name="G15" fmla="*/ 8 28 1"/>
                <a:gd name="G16" fmla="*/ G15 1 28"/>
                <a:gd name="G17" fmla="*/ 15 15 1"/>
                <a:gd name="G18" fmla="*/ G17 1 15"/>
                <a:gd name="G19" fmla="*/ 16 28 1"/>
                <a:gd name="G20" fmla="*/ G19 1 28"/>
                <a:gd name="G21" fmla="*/ 15 15 1"/>
                <a:gd name="G22" fmla="*/ G21 1 15"/>
                <a:gd name="G23" fmla="*/ 20 28 1"/>
                <a:gd name="G24" fmla="*/ G23 1 28"/>
                <a:gd name="G25" fmla="*/ 15 15 1"/>
                <a:gd name="G26" fmla="*/ G25 1 15"/>
                <a:gd name="G27" fmla="*/ 28 28 1"/>
                <a:gd name="G28" fmla="*/ G27 1 28"/>
                <a:gd name="G29" fmla="*/ 8 15 1"/>
                <a:gd name="G30" fmla="*/ G29 1 15"/>
                <a:gd name="G31" fmla="*/ 20 28 1"/>
                <a:gd name="G32" fmla="*/ G31 1 28"/>
                <a:gd name="G33" fmla="*/ 1 0 51712"/>
                <a:gd name="G34" fmla="*/ G33 15 1"/>
                <a:gd name="G35" fmla="*/ G34 1 15"/>
                <a:gd name="G36" fmla="+- 28 0 0"/>
                <a:gd name="G37" fmla="+- 15 0 0"/>
              </a:gdLst>
              <a:ahLst/>
              <a:cxnLst>
                <a:cxn ang="0">
                  <a:pos x="20" y="0"/>
                </a:cxn>
                <a:cxn ang="0">
                  <a:pos x="8" y="0"/>
                </a:cxn>
                <a:cxn ang="0">
                  <a:pos x="0" y="8"/>
                </a:cxn>
                <a:cxn ang="0">
                  <a:pos x="8" y="15"/>
                </a:cxn>
                <a:cxn ang="0">
                  <a:pos x="16" y="15"/>
                </a:cxn>
                <a:cxn ang="0">
                  <a:pos x="20" y="15"/>
                </a:cxn>
                <a:cxn ang="0">
                  <a:pos x="28" y="8"/>
                </a:cxn>
                <a:cxn ang="0">
                  <a:pos x="20" y="0"/>
                </a:cxn>
              </a:cxnLst>
              <a:rect l="0" t="0" r="r" b="b"/>
              <a:pathLst>
                <a:path w="28" h="15">
                  <a:moveTo>
                    <a:pt x="20" y="0"/>
                  </a:moveTo>
                  <a:cubicBezTo>
                    <a:pt x="8" y="0"/>
                    <a:pt x="8" y="0"/>
                    <a:pt x="8" y="0"/>
                  </a:cubicBezTo>
                  <a:cubicBezTo>
                    <a:pt x="3" y="0"/>
                    <a:pt x="0" y="3"/>
                    <a:pt x="0" y="8"/>
                  </a:cubicBezTo>
                  <a:cubicBezTo>
                    <a:pt x="0" y="12"/>
                    <a:pt x="3" y="15"/>
                    <a:pt x="8" y="15"/>
                  </a:cubicBezTo>
                  <a:cubicBezTo>
                    <a:pt x="16" y="15"/>
                    <a:pt x="16" y="15"/>
                    <a:pt x="16" y="15"/>
                  </a:cubicBezTo>
                  <a:cubicBezTo>
                    <a:pt x="20" y="15"/>
                    <a:pt x="20" y="15"/>
                    <a:pt x="20" y="15"/>
                  </a:cubicBezTo>
                  <a:cubicBezTo>
                    <a:pt x="25" y="15"/>
                    <a:pt x="28" y="12"/>
                    <a:pt x="28" y="8"/>
                  </a:cubicBezTo>
                  <a:cubicBezTo>
                    <a:pt x="28" y="3"/>
                    <a:pt x="25" y="0"/>
                    <a:pt x="20" y="0"/>
                  </a:cubicBezTo>
                  <a:close/>
                </a:path>
              </a:pathLst>
            </a:custGeom>
            <a:noFill/>
            <a:ln w="9525">
              <a:noFill/>
              <a:round/>
              <a:headEnd/>
              <a:tailEnd/>
            </a:ln>
            <a:effectLst/>
          </p:spPr>
          <p:txBody>
            <a:bodyPr wrap="none" anchor="ctr">
              <a:prstTxWarp prst="textNoShape">
                <a:avLst/>
              </a:prstTxWarp>
            </a:bodyPr>
            <a:lstStyle/>
            <a:p>
              <a:endParaRPr lang="de-CH"/>
            </a:p>
          </p:txBody>
        </p:sp>
        <p:sp>
          <p:nvSpPr>
            <p:cNvPr id="9232" name="Freeform 16"/>
            <p:cNvSpPr>
              <a:spLocks noChangeArrowheads="1"/>
            </p:cNvSpPr>
            <p:nvPr/>
          </p:nvSpPr>
          <p:spPr bwMode="auto">
            <a:xfrm>
              <a:off x="928" y="2201"/>
              <a:ext cx="71" cy="21"/>
            </a:xfrm>
            <a:custGeom>
              <a:avLst/>
              <a:gdLst>
                <a:gd name="G0" fmla="*/ 34 51 1"/>
                <a:gd name="G1" fmla="*/ G0 1 51"/>
                <a:gd name="G2" fmla="*/ 16 16 1"/>
                <a:gd name="G3" fmla="*/ G2 1 16"/>
                <a:gd name="G4" fmla="*/ 43 51 1"/>
                <a:gd name="G5" fmla="*/ G4 1 51"/>
                <a:gd name="G6" fmla="*/ 16 16 1"/>
                <a:gd name="G7" fmla="*/ G6 1 16"/>
                <a:gd name="G8" fmla="*/ 51 51 1"/>
                <a:gd name="G9" fmla="*/ G8 1 51"/>
                <a:gd name="G10" fmla="*/ 8 16 1"/>
                <a:gd name="G11" fmla="*/ G10 1 16"/>
                <a:gd name="G12" fmla="*/ 43 51 1"/>
                <a:gd name="G13" fmla="*/ G12 1 51"/>
                <a:gd name="G14" fmla="*/ 1 0 51712"/>
                <a:gd name="G15" fmla="*/ G14 16 1"/>
                <a:gd name="G16" fmla="*/ G15 1 16"/>
                <a:gd name="G17" fmla="*/ 8 51 1"/>
                <a:gd name="G18" fmla="*/ G17 1 51"/>
                <a:gd name="G19" fmla="*/ 1 0 51712"/>
                <a:gd name="G20" fmla="*/ G19 16 1"/>
                <a:gd name="G21" fmla="*/ G20 1 16"/>
                <a:gd name="G22" fmla="*/ 8 51 1"/>
                <a:gd name="G23" fmla="*/ G22 1 51"/>
                <a:gd name="G24" fmla="*/ 1 0 51712"/>
                <a:gd name="G25" fmla="*/ G24 16 1"/>
                <a:gd name="G26" fmla="*/ G25 1 16"/>
                <a:gd name="G27" fmla="*/ 1 0 51712"/>
                <a:gd name="G28" fmla="*/ G27 51 1"/>
                <a:gd name="G29" fmla="*/ G28 1 51"/>
                <a:gd name="G30" fmla="*/ 8 16 1"/>
                <a:gd name="G31" fmla="*/ G30 1 16"/>
                <a:gd name="G32" fmla="*/ 8 51 1"/>
                <a:gd name="G33" fmla="*/ G32 1 51"/>
                <a:gd name="G34" fmla="*/ 16 16 1"/>
                <a:gd name="G35" fmla="*/ G34 1 16"/>
                <a:gd name="G36" fmla="*/ 22 51 1"/>
                <a:gd name="G37" fmla="*/ G36 1 51"/>
                <a:gd name="G38" fmla="*/ 16 16 1"/>
                <a:gd name="G39" fmla="*/ G38 1 16"/>
                <a:gd name="G40" fmla="*/ 34 51 1"/>
                <a:gd name="G41" fmla="*/ G40 1 51"/>
                <a:gd name="G42" fmla="*/ 16 16 1"/>
                <a:gd name="G43" fmla="*/ G42 1 16"/>
                <a:gd name="G44" fmla="+- 51 0 0"/>
                <a:gd name="G45" fmla="+- 16 0 0"/>
              </a:gdLst>
              <a:ahLst/>
              <a:cxnLst>
                <a:cxn ang="0">
                  <a:pos x="34" y="16"/>
                </a:cxn>
                <a:cxn ang="0">
                  <a:pos x="43" y="16"/>
                </a:cxn>
                <a:cxn ang="0">
                  <a:pos x="51" y="8"/>
                </a:cxn>
                <a:cxn ang="0">
                  <a:pos x="43" y="0"/>
                </a:cxn>
                <a:cxn ang="0">
                  <a:pos x="8" y="0"/>
                </a:cxn>
                <a:cxn ang="0">
                  <a:pos x="8" y="0"/>
                </a:cxn>
                <a:cxn ang="0">
                  <a:pos x="0" y="8"/>
                </a:cxn>
                <a:cxn ang="0">
                  <a:pos x="8" y="16"/>
                </a:cxn>
                <a:cxn ang="0">
                  <a:pos x="22" y="16"/>
                </a:cxn>
                <a:cxn ang="0">
                  <a:pos x="34" y="16"/>
                </a:cxn>
              </a:cxnLst>
              <a:rect l="0" t="0" r="r" b="b"/>
              <a:pathLst>
                <a:path w="51" h="16">
                  <a:moveTo>
                    <a:pt x="34" y="16"/>
                  </a:moveTo>
                  <a:cubicBezTo>
                    <a:pt x="43" y="16"/>
                    <a:pt x="43" y="16"/>
                    <a:pt x="43" y="16"/>
                  </a:cubicBezTo>
                  <a:cubicBezTo>
                    <a:pt x="48" y="16"/>
                    <a:pt x="51" y="12"/>
                    <a:pt x="51" y="8"/>
                  </a:cubicBezTo>
                  <a:cubicBezTo>
                    <a:pt x="51" y="3"/>
                    <a:pt x="48" y="0"/>
                    <a:pt x="43" y="0"/>
                  </a:cubicBezTo>
                  <a:cubicBezTo>
                    <a:pt x="8" y="0"/>
                    <a:pt x="8" y="0"/>
                    <a:pt x="8" y="0"/>
                  </a:cubicBezTo>
                  <a:cubicBezTo>
                    <a:pt x="8" y="0"/>
                    <a:pt x="8" y="0"/>
                    <a:pt x="8" y="0"/>
                  </a:cubicBezTo>
                  <a:cubicBezTo>
                    <a:pt x="4" y="0"/>
                    <a:pt x="0" y="3"/>
                    <a:pt x="0" y="8"/>
                  </a:cubicBezTo>
                  <a:cubicBezTo>
                    <a:pt x="0" y="12"/>
                    <a:pt x="4" y="16"/>
                    <a:pt x="8" y="16"/>
                  </a:cubicBezTo>
                  <a:cubicBezTo>
                    <a:pt x="22" y="16"/>
                    <a:pt x="22" y="16"/>
                    <a:pt x="22" y="16"/>
                  </a:cubicBezTo>
                  <a:lnTo>
                    <a:pt x="34" y="16"/>
                  </a:lnTo>
                  <a:close/>
                </a:path>
              </a:pathLst>
            </a:custGeom>
            <a:noFill/>
            <a:ln w="9525">
              <a:noFill/>
              <a:round/>
              <a:headEnd/>
              <a:tailEnd/>
            </a:ln>
            <a:effectLst/>
          </p:spPr>
          <p:txBody>
            <a:bodyPr wrap="none" anchor="ctr">
              <a:prstTxWarp prst="textNoShape">
                <a:avLst/>
              </a:prstTxWarp>
            </a:bodyPr>
            <a:lstStyle/>
            <a:p>
              <a:endParaRPr lang="de-CH"/>
            </a:p>
          </p:txBody>
        </p:sp>
        <p:sp>
          <p:nvSpPr>
            <p:cNvPr id="9233" name="Freeform 17"/>
            <p:cNvSpPr>
              <a:spLocks noChangeArrowheads="1"/>
            </p:cNvSpPr>
            <p:nvPr/>
          </p:nvSpPr>
          <p:spPr bwMode="auto">
            <a:xfrm>
              <a:off x="928" y="2173"/>
              <a:ext cx="71" cy="21"/>
            </a:xfrm>
            <a:custGeom>
              <a:avLst/>
              <a:gdLst>
                <a:gd name="G0" fmla="*/ 8 51 1"/>
                <a:gd name="G1" fmla="*/ G0 1 51"/>
                <a:gd name="G2" fmla="*/ 16 16 1"/>
                <a:gd name="G3" fmla="*/ G2 1 16"/>
                <a:gd name="G4" fmla="*/ 43 51 1"/>
                <a:gd name="G5" fmla="*/ G4 1 51"/>
                <a:gd name="G6" fmla="*/ 16 16 1"/>
                <a:gd name="G7" fmla="*/ G6 1 16"/>
                <a:gd name="G8" fmla="*/ 43 51 1"/>
                <a:gd name="G9" fmla="*/ G8 1 51"/>
                <a:gd name="G10" fmla="*/ 16 16 1"/>
                <a:gd name="G11" fmla="*/ G10 1 16"/>
                <a:gd name="G12" fmla="*/ 51 51 1"/>
                <a:gd name="G13" fmla="*/ G12 1 51"/>
                <a:gd name="G14" fmla="*/ 8 16 1"/>
                <a:gd name="G15" fmla="*/ G14 1 16"/>
                <a:gd name="G16" fmla="*/ 45 51 1"/>
                <a:gd name="G17" fmla="*/ G16 1 51"/>
                <a:gd name="G18" fmla="*/ 1 0 51712"/>
                <a:gd name="G19" fmla="*/ G18 16 1"/>
                <a:gd name="G20" fmla="*/ G19 1 16"/>
                <a:gd name="G21" fmla="*/ 43 51 1"/>
                <a:gd name="G22" fmla="*/ G21 1 51"/>
                <a:gd name="G23" fmla="*/ 1 0 51712"/>
                <a:gd name="G24" fmla="*/ G23 16 1"/>
                <a:gd name="G25" fmla="*/ G24 1 16"/>
                <a:gd name="G26" fmla="*/ 38 51 1"/>
                <a:gd name="G27" fmla="*/ G26 1 51"/>
                <a:gd name="G28" fmla="*/ 1 0 51712"/>
                <a:gd name="G29" fmla="*/ G28 16 1"/>
                <a:gd name="G30" fmla="*/ G29 1 16"/>
                <a:gd name="G31" fmla="*/ 17 51 1"/>
                <a:gd name="G32" fmla="*/ G31 1 51"/>
                <a:gd name="G33" fmla="*/ 1 0 51712"/>
                <a:gd name="G34" fmla="*/ G33 16 1"/>
                <a:gd name="G35" fmla="*/ G34 1 16"/>
                <a:gd name="G36" fmla="*/ 8 51 1"/>
                <a:gd name="G37" fmla="*/ G36 1 51"/>
                <a:gd name="G38" fmla="*/ 1 0 51712"/>
                <a:gd name="G39" fmla="*/ G38 16 1"/>
                <a:gd name="G40" fmla="*/ G39 1 16"/>
                <a:gd name="G41" fmla="*/ 1 0 51712"/>
                <a:gd name="G42" fmla="*/ G41 51 1"/>
                <a:gd name="G43" fmla="*/ G42 1 51"/>
                <a:gd name="G44" fmla="*/ 8 16 1"/>
                <a:gd name="G45" fmla="*/ G44 1 16"/>
                <a:gd name="G46" fmla="*/ 8 51 1"/>
                <a:gd name="G47" fmla="*/ G46 1 51"/>
                <a:gd name="G48" fmla="*/ 16 16 1"/>
                <a:gd name="G49" fmla="*/ G48 1 16"/>
                <a:gd name="G50" fmla="+- 51 0 0"/>
                <a:gd name="G51" fmla="+- 16 0 0"/>
              </a:gdLst>
              <a:ahLst/>
              <a:cxnLst>
                <a:cxn ang="0">
                  <a:pos x="8" y="16"/>
                </a:cxn>
                <a:cxn ang="0">
                  <a:pos x="43" y="16"/>
                </a:cxn>
                <a:cxn ang="0">
                  <a:pos x="43" y="16"/>
                </a:cxn>
                <a:cxn ang="0">
                  <a:pos x="51" y="8"/>
                </a:cxn>
                <a:cxn ang="0">
                  <a:pos x="45" y="0"/>
                </a:cxn>
                <a:cxn ang="0">
                  <a:pos x="43" y="0"/>
                </a:cxn>
                <a:cxn ang="0">
                  <a:pos x="38" y="0"/>
                </a:cxn>
                <a:cxn ang="0">
                  <a:pos x="17" y="0"/>
                </a:cxn>
                <a:cxn ang="0">
                  <a:pos x="8" y="0"/>
                </a:cxn>
                <a:cxn ang="0">
                  <a:pos x="0" y="8"/>
                </a:cxn>
                <a:cxn ang="0">
                  <a:pos x="8" y="16"/>
                </a:cxn>
              </a:cxnLst>
              <a:rect l="0" t="0" r="r" b="b"/>
              <a:pathLst>
                <a:path w="51" h="16">
                  <a:moveTo>
                    <a:pt x="8" y="16"/>
                  </a:moveTo>
                  <a:cubicBezTo>
                    <a:pt x="43" y="16"/>
                    <a:pt x="43" y="16"/>
                    <a:pt x="43" y="16"/>
                  </a:cubicBezTo>
                  <a:cubicBezTo>
                    <a:pt x="43" y="16"/>
                    <a:pt x="43" y="16"/>
                    <a:pt x="43" y="16"/>
                  </a:cubicBezTo>
                  <a:cubicBezTo>
                    <a:pt x="48" y="16"/>
                    <a:pt x="51" y="12"/>
                    <a:pt x="51" y="8"/>
                  </a:cubicBezTo>
                  <a:cubicBezTo>
                    <a:pt x="51" y="3"/>
                    <a:pt x="49" y="0"/>
                    <a:pt x="45" y="0"/>
                  </a:cubicBezTo>
                  <a:cubicBezTo>
                    <a:pt x="43" y="0"/>
                    <a:pt x="43" y="0"/>
                    <a:pt x="43" y="0"/>
                  </a:cubicBezTo>
                  <a:cubicBezTo>
                    <a:pt x="38" y="0"/>
                    <a:pt x="38" y="0"/>
                    <a:pt x="38" y="0"/>
                  </a:cubicBezTo>
                  <a:cubicBezTo>
                    <a:pt x="17" y="0"/>
                    <a:pt x="17" y="0"/>
                    <a:pt x="17" y="0"/>
                  </a:cubicBezTo>
                  <a:cubicBezTo>
                    <a:pt x="8" y="0"/>
                    <a:pt x="8" y="0"/>
                    <a:pt x="8" y="0"/>
                  </a:cubicBezTo>
                  <a:cubicBezTo>
                    <a:pt x="4" y="0"/>
                    <a:pt x="0" y="3"/>
                    <a:pt x="0" y="8"/>
                  </a:cubicBezTo>
                  <a:cubicBezTo>
                    <a:pt x="0" y="12"/>
                    <a:pt x="4" y="16"/>
                    <a:pt x="8" y="16"/>
                  </a:cubicBezTo>
                  <a:close/>
                </a:path>
              </a:pathLst>
            </a:custGeom>
            <a:noFill/>
            <a:ln w="9525">
              <a:noFill/>
              <a:round/>
              <a:headEnd/>
              <a:tailEnd/>
            </a:ln>
            <a:effectLst/>
          </p:spPr>
          <p:txBody>
            <a:bodyPr wrap="none" anchor="ctr">
              <a:prstTxWarp prst="textNoShape">
                <a:avLst/>
              </a:prstTxWarp>
            </a:bodyPr>
            <a:lstStyle/>
            <a:p>
              <a:endParaRPr lang="de-CH"/>
            </a:p>
          </p:txBody>
        </p:sp>
        <p:sp>
          <p:nvSpPr>
            <p:cNvPr id="9234" name="Freeform 18"/>
            <p:cNvSpPr>
              <a:spLocks noChangeArrowheads="1"/>
            </p:cNvSpPr>
            <p:nvPr/>
          </p:nvSpPr>
          <p:spPr bwMode="auto">
            <a:xfrm>
              <a:off x="940" y="2145"/>
              <a:ext cx="50" cy="21"/>
            </a:xfrm>
            <a:custGeom>
              <a:avLst/>
              <a:gdLst>
                <a:gd name="G0" fmla="*/ 29 36 1"/>
                <a:gd name="G1" fmla="*/ G0 1 36"/>
                <a:gd name="G2" fmla="*/ 16 16 1"/>
                <a:gd name="G3" fmla="*/ G2 1 16"/>
                <a:gd name="G4" fmla="*/ 36 36 1"/>
                <a:gd name="G5" fmla="*/ G4 1 36"/>
                <a:gd name="G6" fmla="*/ 8 16 1"/>
                <a:gd name="G7" fmla="*/ G6 1 16"/>
                <a:gd name="G8" fmla="*/ 29 36 1"/>
                <a:gd name="G9" fmla="*/ G8 1 36"/>
                <a:gd name="G10" fmla="*/ 1 0 51712"/>
                <a:gd name="G11" fmla="*/ G10 16 1"/>
                <a:gd name="G12" fmla="*/ G11 1 16"/>
                <a:gd name="G13" fmla="*/ 8 36 1"/>
                <a:gd name="G14" fmla="*/ G13 1 36"/>
                <a:gd name="G15" fmla="*/ 1 0 51712"/>
                <a:gd name="G16" fmla="*/ G15 16 1"/>
                <a:gd name="G17" fmla="*/ G16 1 16"/>
                <a:gd name="G18" fmla="*/ 1 0 51712"/>
                <a:gd name="G19" fmla="*/ G18 36 1"/>
                <a:gd name="G20" fmla="*/ G19 1 36"/>
                <a:gd name="G21" fmla="*/ 8 16 1"/>
                <a:gd name="G22" fmla="*/ G21 1 16"/>
                <a:gd name="G23" fmla="*/ 8 36 1"/>
                <a:gd name="G24" fmla="*/ G23 1 36"/>
                <a:gd name="G25" fmla="*/ 16 16 1"/>
                <a:gd name="G26" fmla="*/ G25 1 16"/>
                <a:gd name="G27" fmla="*/ 29 36 1"/>
                <a:gd name="G28" fmla="*/ G27 1 36"/>
                <a:gd name="G29" fmla="*/ 16 16 1"/>
                <a:gd name="G30" fmla="*/ G29 1 16"/>
                <a:gd name="G31" fmla="+- 36 0 0"/>
                <a:gd name="G32" fmla="+- 16 0 0"/>
              </a:gdLst>
              <a:ahLst/>
              <a:cxnLst>
                <a:cxn ang="0">
                  <a:pos x="29" y="16"/>
                </a:cxn>
                <a:cxn ang="0">
                  <a:pos x="36" y="8"/>
                </a:cxn>
                <a:cxn ang="0">
                  <a:pos x="29" y="0"/>
                </a:cxn>
                <a:cxn ang="0">
                  <a:pos x="8" y="0"/>
                </a:cxn>
                <a:cxn ang="0">
                  <a:pos x="0" y="8"/>
                </a:cxn>
                <a:cxn ang="0">
                  <a:pos x="8" y="16"/>
                </a:cxn>
                <a:cxn ang="0">
                  <a:pos x="29" y="16"/>
                </a:cxn>
              </a:cxnLst>
              <a:rect l="0" t="0" r="r" b="b"/>
              <a:pathLst>
                <a:path w="36" h="16">
                  <a:moveTo>
                    <a:pt x="29" y="16"/>
                  </a:moveTo>
                  <a:cubicBezTo>
                    <a:pt x="33" y="16"/>
                    <a:pt x="36" y="12"/>
                    <a:pt x="36" y="8"/>
                  </a:cubicBezTo>
                  <a:cubicBezTo>
                    <a:pt x="36" y="4"/>
                    <a:pt x="33" y="0"/>
                    <a:pt x="29" y="0"/>
                  </a:cubicBezTo>
                  <a:cubicBezTo>
                    <a:pt x="8" y="0"/>
                    <a:pt x="8" y="0"/>
                    <a:pt x="8" y="0"/>
                  </a:cubicBezTo>
                  <a:cubicBezTo>
                    <a:pt x="4" y="0"/>
                    <a:pt x="0" y="4"/>
                    <a:pt x="0" y="8"/>
                  </a:cubicBezTo>
                  <a:cubicBezTo>
                    <a:pt x="0" y="12"/>
                    <a:pt x="4" y="16"/>
                    <a:pt x="8" y="16"/>
                  </a:cubicBezTo>
                  <a:lnTo>
                    <a:pt x="29" y="16"/>
                  </a:lnTo>
                  <a:close/>
                </a:path>
              </a:pathLst>
            </a:custGeom>
            <a:noFill/>
            <a:ln w="9525">
              <a:noFill/>
              <a:round/>
              <a:headEnd/>
              <a:tailEnd/>
            </a:ln>
            <a:effectLst/>
          </p:spPr>
          <p:txBody>
            <a:bodyPr wrap="none" anchor="ctr">
              <a:prstTxWarp prst="textNoShape">
                <a:avLst/>
              </a:prstTxWarp>
            </a:bodyPr>
            <a:lstStyle/>
            <a:p>
              <a:endParaRPr lang="de-CH"/>
            </a:p>
          </p:txBody>
        </p:sp>
      </p:grpSp>
      <p:sp>
        <p:nvSpPr>
          <p:cNvPr id="9235" name="Rectangle 19"/>
          <p:cNvSpPr>
            <a:spLocks noChangeArrowheads="1"/>
          </p:cNvSpPr>
          <p:nvPr/>
        </p:nvSpPr>
        <p:spPr bwMode="auto">
          <a:xfrm>
            <a:off x="3328988" y="2681288"/>
            <a:ext cx="2562225" cy="701675"/>
          </a:xfrm>
          <a:prstGeom prst="rect">
            <a:avLst/>
          </a:prstGeom>
          <a:solidFill>
            <a:srgbClr val="FFFFFF"/>
          </a:solidFill>
          <a:ln w="9360">
            <a:solidFill>
              <a:srgbClr val="595959"/>
            </a:solidFill>
            <a:round/>
            <a:headEnd/>
            <a:tailEnd/>
          </a:ln>
          <a:effectLst/>
        </p:spPr>
        <p:txBody>
          <a:bodyPr lIns="36000" tIns="36000" rIns="0" bIns="0" anchor="ctr">
            <a:prstTxWarp prst="textNoShape">
              <a:avLst/>
            </a:prstTxWarp>
          </a:bodyPr>
          <a:lstStyle/>
          <a:p>
            <a:pPr hangingPunct="1">
              <a:lnSpc>
                <a:spcPct val="100000"/>
              </a:lnSpc>
              <a:spcBef>
                <a:spcPts val="600"/>
              </a:spcBef>
              <a:tabLst>
                <a:tab pos="723900" algn="l"/>
                <a:tab pos="1447800" algn="l"/>
                <a:tab pos="2171700" algn="l"/>
              </a:tabLst>
            </a:pPr>
            <a:r>
              <a:rPr lang="de-DE" sz="900">
                <a:solidFill>
                  <a:srgbClr val="000000"/>
                </a:solidFill>
                <a:ea typeface="Arial Unicode MS" charset="0"/>
                <a:cs typeface="Arial Unicode MS" charset="0"/>
              </a:rPr>
              <a:t>Intelligente Party-Dienstleistung hat nicht mehr denselben Impact und Reibungsfläche. Die gängige Architektur ist statisch geworden und muss aufgebrochen werden</a:t>
            </a:r>
          </a:p>
        </p:txBody>
      </p:sp>
      <p:sp>
        <p:nvSpPr>
          <p:cNvPr id="9236" name="Rectangle 20"/>
          <p:cNvSpPr>
            <a:spLocks noChangeArrowheads="1"/>
          </p:cNvSpPr>
          <p:nvPr/>
        </p:nvSpPr>
        <p:spPr bwMode="auto">
          <a:xfrm>
            <a:off x="304800" y="2687638"/>
            <a:ext cx="2592388" cy="719137"/>
          </a:xfrm>
          <a:prstGeom prst="rect">
            <a:avLst/>
          </a:prstGeom>
          <a:solidFill>
            <a:srgbClr val="FFFFFF"/>
          </a:solidFill>
          <a:ln w="9360">
            <a:solidFill>
              <a:srgbClr val="E55A00"/>
            </a:solidFill>
            <a:round/>
            <a:headEnd/>
            <a:tailEnd/>
          </a:ln>
          <a:effectLst/>
        </p:spPr>
        <p:txBody>
          <a:bodyPr lIns="36000" tIns="36000" rIns="0" bIns="0" anchor="ctr">
            <a:prstTxWarp prst="textNoShape">
              <a:avLst/>
            </a:prstTxWarp>
          </a:bodyPr>
          <a:lstStyle/>
          <a:p>
            <a:pPr hangingPunct="1">
              <a:lnSpc>
                <a:spcPct val="100000"/>
              </a:lnSpc>
              <a:spcBef>
                <a:spcPts val="300"/>
              </a:spcBef>
              <a:tabLst>
                <a:tab pos="723900" algn="l"/>
                <a:tab pos="1447800" algn="l"/>
                <a:tab pos="2171700" algn="l"/>
              </a:tabLst>
            </a:pPr>
            <a:r>
              <a:rPr lang="de-DE" sz="900">
                <a:solidFill>
                  <a:srgbClr val="000000"/>
                </a:solidFill>
                <a:ea typeface="Arial Unicode MS" charset="0"/>
                <a:cs typeface="Arial Unicode MS" charset="0"/>
              </a:rPr>
              <a:t>Die Rolle als DJ/Producer ist nicht mehr interessant. Das Korsett ist zu eng geworden.</a:t>
            </a:r>
          </a:p>
        </p:txBody>
      </p:sp>
      <p:sp>
        <p:nvSpPr>
          <p:cNvPr id="9237" name="Rectangle 21"/>
          <p:cNvSpPr>
            <a:spLocks noChangeArrowheads="1"/>
          </p:cNvSpPr>
          <p:nvPr/>
        </p:nvSpPr>
        <p:spPr bwMode="auto">
          <a:xfrm>
            <a:off x="485775" y="946150"/>
            <a:ext cx="1963738" cy="293688"/>
          </a:xfrm>
          <a:prstGeom prst="rect">
            <a:avLst/>
          </a:prstGeom>
          <a:noFill/>
          <a:ln w="9525">
            <a:noFill/>
            <a:round/>
            <a:headEnd/>
            <a:tailEnd/>
          </a:ln>
          <a:effectLst/>
        </p:spPr>
        <p:txBody>
          <a:bodyPr lIns="0" tIns="0" rIns="0" bIns="0" anchor="ctr">
            <a:prstTxWarp prst="textNoShape">
              <a:avLst/>
            </a:prstTxWarp>
          </a:bodyPr>
          <a:lstStyle/>
          <a:p>
            <a:pPr algn="ctr" hangingPunct="1">
              <a:lnSpc>
                <a:spcPct val="100000"/>
              </a:lnSpc>
              <a:spcBef>
                <a:spcPts val="300"/>
              </a:spcBef>
              <a:tabLst>
                <a:tab pos="723900" algn="l"/>
                <a:tab pos="1447800" algn="l"/>
              </a:tabLst>
            </a:pPr>
            <a:r>
              <a:rPr lang="de-DE" sz="1200" b="1">
                <a:solidFill>
                  <a:srgbClr val="E55A00"/>
                </a:solidFill>
                <a:ea typeface="Arial Unicode MS" charset="0"/>
                <a:cs typeface="Arial Unicode MS" charset="0"/>
              </a:rPr>
              <a:t>Pascal Fuhlbrügge</a:t>
            </a:r>
          </a:p>
        </p:txBody>
      </p:sp>
      <p:sp>
        <p:nvSpPr>
          <p:cNvPr id="9238" name="Rectangle 22"/>
          <p:cNvSpPr>
            <a:spLocks noChangeArrowheads="1"/>
          </p:cNvSpPr>
          <p:nvPr/>
        </p:nvSpPr>
        <p:spPr bwMode="auto">
          <a:xfrm>
            <a:off x="3660775" y="946150"/>
            <a:ext cx="1793875" cy="293688"/>
          </a:xfrm>
          <a:prstGeom prst="rect">
            <a:avLst/>
          </a:prstGeom>
          <a:noFill/>
          <a:ln w="9525">
            <a:noFill/>
            <a:round/>
            <a:headEnd/>
            <a:tailEnd/>
          </a:ln>
          <a:effectLst/>
        </p:spPr>
        <p:txBody>
          <a:bodyPr lIns="0" tIns="0" rIns="0" bIns="0" anchor="ctr">
            <a:prstTxWarp prst="textNoShape">
              <a:avLst/>
            </a:prstTxWarp>
          </a:bodyPr>
          <a:lstStyle/>
          <a:p>
            <a:pPr algn="ctr" hangingPunct="1">
              <a:lnSpc>
                <a:spcPct val="100000"/>
              </a:lnSpc>
              <a:spcBef>
                <a:spcPts val="300"/>
              </a:spcBef>
              <a:tabLst>
                <a:tab pos="723900" algn="l"/>
                <a:tab pos="1447800" algn="l"/>
              </a:tabLst>
            </a:pPr>
            <a:r>
              <a:rPr lang="de-DE" sz="1200" b="1">
                <a:solidFill>
                  <a:srgbClr val="264283"/>
                </a:solidFill>
                <a:ea typeface="Arial Unicode MS" charset="0"/>
                <a:cs typeface="Arial Unicode MS" charset="0"/>
              </a:rPr>
              <a:t>Flumroc</a:t>
            </a:r>
          </a:p>
        </p:txBody>
      </p:sp>
      <p:sp>
        <p:nvSpPr>
          <p:cNvPr id="9239" name="Rectangle 23"/>
          <p:cNvSpPr>
            <a:spLocks noChangeArrowheads="1"/>
          </p:cNvSpPr>
          <p:nvPr/>
        </p:nvSpPr>
        <p:spPr bwMode="auto">
          <a:xfrm>
            <a:off x="6731000" y="946150"/>
            <a:ext cx="1758950" cy="322263"/>
          </a:xfrm>
          <a:prstGeom prst="rect">
            <a:avLst/>
          </a:prstGeom>
          <a:noFill/>
          <a:ln w="9525">
            <a:noFill/>
            <a:round/>
            <a:headEnd/>
            <a:tailEnd/>
          </a:ln>
          <a:effectLst/>
        </p:spPr>
        <p:txBody>
          <a:bodyPr lIns="0" tIns="0" rIns="0" bIns="0" anchor="ctr">
            <a:prstTxWarp prst="textNoShape">
              <a:avLst/>
            </a:prstTxWarp>
          </a:bodyPr>
          <a:lstStyle/>
          <a:p>
            <a:pPr algn="ctr" hangingPunct="1">
              <a:lnSpc>
                <a:spcPct val="100000"/>
              </a:lnSpc>
              <a:spcBef>
                <a:spcPts val="300"/>
              </a:spcBef>
              <a:tabLst>
                <a:tab pos="723900" algn="l"/>
                <a:tab pos="1447800" algn="l"/>
              </a:tabLst>
            </a:pPr>
            <a:r>
              <a:rPr lang="de-DE" sz="1200" b="1">
                <a:solidFill>
                  <a:srgbClr val="798200"/>
                </a:solidFill>
                <a:ea typeface="Arial Unicode MS" charset="0"/>
                <a:cs typeface="Arial Unicode MS" charset="0"/>
              </a:rPr>
              <a:t>Joachim Franz Büchner</a:t>
            </a:r>
          </a:p>
        </p:txBody>
      </p:sp>
      <p:sp>
        <p:nvSpPr>
          <p:cNvPr id="9240" name="Rectangle 24"/>
          <p:cNvSpPr>
            <a:spLocks noChangeArrowheads="1"/>
          </p:cNvSpPr>
          <p:nvPr/>
        </p:nvSpPr>
        <p:spPr bwMode="auto">
          <a:xfrm>
            <a:off x="6324600" y="2681288"/>
            <a:ext cx="2592388" cy="719137"/>
          </a:xfrm>
          <a:prstGeom prst="rect">
            <a:avLst/>
          </a:prstGeom>
          <a:solidFill>
            <a:srgbClr val="FFFFFF"/>
          </a:solidFill>
          <a:ln w="9360">
            <a:solidFill>
              <a:srgbClr val="798200"/>
            </a:solidFill>
            <a:round/>
            <a:headEnd/>
            <a:tailEnd/>
          </a:ln>
          <a:effectLst/>
        </p:spPr>
        <p:txBody>
          <a:bodyPr lIns="36000" tIns="36000" rIns="0" bIns="36000" anchor="ctr">
            <a:prstTxWarp prst="textNoShape">
              <a:avLst/>
            </a:prstTxWarp>
          </a:bodyPr>
          <a:lstStyle/>
          <a:p>
            <a:pPr hangingPunct="1">
              <a:lnSpc>
                <a:spcPct val="100000"/>
              </a:lnSpc>
              <a:spcBef>
                <a:spcPts val="450"/>
              </a:spcBef>
              <a:tabLst>
                <a:tab pos="723900" algn="l"/>
                <a:tab pos="1447800" algn="l"/>
                <a:tab pos="2171700" algn="l"/>
              </a:tabLst>
            </a:pPr>
            <a:r>
              <a:rPr lang="de-DE" sz="900">
                <a:solidFill>
                  <a:srgbClr val="000000"/>
                </a:solidFill>
                <a:ea typeface="Arial Unicode MS" charset="0"/>
                <a:cs typeface="Arial Unicode MS" charset="0"/>
              </a:rPr>
              <a:t>Der junge Energetiker, Popmystiker und Verfeinerer auf der Suche nach neuen Möglichkeiten</a:t>
            </a:r>
          </a:p>
        </p:txBody>
      </p:sp>
      <p:sp>
        <p:nvSpPr>
          <p:cNvPr id="9241" name="AutoShape 25"/>
          <p:cNvSpPr>
            <a:spLocks noChangeArrowheads="1"/>
          </p:cNvSpPr>
          <p:nvPr/>
        </p:nvSpPr>
        <p:spPr bwMode="auto">
          <a:xfrm rot="10800000">
            <a:off x="3684588" y="3560763"/>
            <a:ext cx="1751012" cy="225425"/>
          </a:xfrm>
          <a:prstGeom prst="triangle">
            <a:avLst>
              <a:gd name="adj" fmla="val 50000"/>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2" name="AutoShape 26"/>
          <p:cNvSpPr>
            <a:spLocks noChangeArrowheads="1"/>
          </p:cNvSpPr>
          <p:nvPr/>
        </p:nvSpPr>
        <p:spPr bwMode="auto">
          <a:xfrm>
            <a:off x="2781300" y="1968500"/>
            <a:ext cx="660400" cy="266700"/>
          </a:xfrm>
          <a:prstGeom prst="leftRightArrow">
            <a:avLst>
              <a:gd name="adj1" fmla="val 50000"/>
              <a:gd name="adj2" fmla="val 49295"/>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3" name="AutoShape 27"/>
          <p:cNvSpPr>
            <a:spLocks noChangeArrowheads="1"/>
          </p:cNvSpPr>
          <p:nvPr/>
        </p:nvSpPr>
        <p:spPr bwMode="auto">
          <a:xfrm>
            <a:off x="5765800" y="2095500"/>
            <a:ext cx="660400" cy="266700"/>
          </a:xfrm>
          <a:prstGeom prst="leftRightArrow">
            <a:avLst>
              <a:gd name="adj1" fmla="val 50000"/>
              <a:gd name="adj2" fmla="val 49295"/>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4" name="AutoShape 28"/>
          <p:cNvSpPr>
            <a:spLocks noChangeArrowheads="1"/>
          </p:cNvSpPr>
          <p:nvPr/>
        </p:nvSpPr>
        <p:spPr bwMode="auto">
          <a:xfrm rot="10800000">
            <a:off x="6630988" y="3586163"/>
            <a:ext cx="1751012" cy="225425"/>
          </a:xfrm>
          <a:prstGeom prst="triangle">
            <a:avLst>
              <a:gd name="adj" fmla="val 50000"/>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5" name="AutoShape 29"/>
          <p:cNvSpPr>
            <a:spLocks noChangeArrowheads="1"/>
          </p:cNvSpPr>
          <p:nvPr/>
        </p:nvSpPr>
        <p:spPr bwMode="auto">
          <a:xfrm rot="10800000">
            <a:off x="750888" y="3586163"/>
            <a:ext cx="1751012" cy="225425"/>
          </a:xfrm>
          <a:prstGeom prst="triangle">
            <a:avLst>
              <a:gd name="adj" fmla="val 50000"/>
            </a:avLst>
          </a:prstGeom>
          <a:solidFill>
            <a:srgbClr val="D2CECD"/>
          </a:solidFill>
          <a:ln w="9360">
            <a:noFill/>
            <a:round/>
            <a:headEnd/>
            <a:tailEnd/>
          </a:ln>
          <a:effectLst/>
        </p:spPr>
        <p:txBody>
          <a:bodyPr wrap="none" anchor="ctr">
            <a:prstTxWarp prst="textNoShape">
              <a:avLst/>
            </a:prstTxWarp>
          </a:bodyPr>
          <a:lstStyle/>
          <a:p>
            <a:endParaRPr lang="de-CH"/>
          </a:p>
        </p:txBody>
      </p:sp>
      <p:pic>
        <p:nvPicPr>
          <p:cNvPr id="9246" name="Picture 30"/>
          <p:cNvPicPr>
            <a:picLocks noChangeArrowheads="1"/>
          </p:cNvPicPr>
          <p:nvPr/>
        </p:nvPicPr>
        <p:blipFill>
          <a:blip r:embed="rId3"/>
          <a:srcRect b="14137"/>
          <a:stretch>
            <a:fillRect/>
          </a:stretch>
        </p:blipFill>
        <p:spPr bwMode="auto">
          <a:xfrm>
            <a:off x="3876675" y="1839912"/>
            <a:ext cx="1355725" cy="727636"/>
          </a:xfrm>
          <a:prstGeom prst="rect">
            <a:avLst/>
          </a:prstGeom>
          <a:noFill/>
          <a:ln w="9525">
            <a:noFill/>
            <a:round/>
            <a:headEnd/>
            <a:tailEnd/>
          </a:ln>
          <a:effectLst/>
        </p:spPr>
      </p:pic>
      <p:pic>
        <p:nvPicPr>
          <p:cNvPr id="9247" name="Picture 31"/>
          <p:cNvPicPr>
            <a:picLocks noChangeAspect="1" noChangeArrowheads="1"/>
          </p:cNvPicPr>
          <p:nvPr/>
        </p:nvPicPr>
        <p:blipFill>
          <a:blip r:embed="rId4"/>
          <a:srcRect/>
          <a:stretch>
            <a:fillRect/>
          </a:stretch>
        </p:blipFill>
        <p:spPr bwMode="auto">
          <a:xfrm>
            <a:off x="7102475" y="1873250"/>
            <a:ext cx="1062038" cy="708025"/>
          </a:xfrm>
          <a:prstGeom prst="rect">
            <a:avLst/>
          </a:prstGeom>
          <a:noFill/>
          <a:ln w="9525">
            <a:noFill/>
            <a:round/>
            <a:headEnd/>
            <a:tailEnd/>
          </a:ln>
          <a:effectLst/>
        </p:spPr>
      </p:pic>
      <p:pic>
        <p:nvPicPr>
          <p:cNvPr id="9248" name="Picture 32"/>
          <p:cNvPicPr>
            <a:picLocks noChangeAspect="1" noChangeArrowheads="1"/>
          </p:cNvPicPr>
          <p:nvPr/>
        </p:nvPicPr>
        <p:blipFill>
          <a:blip r:embed="rId5"/>
          <a:srcRect/>
          <a:stretch>
            <a:fillRect/>
          </a:stretch>
        </p:blipFill>
        <p:spPr bwMode="auto">
          <a:xfrm>
            <a:off x="1028700" y="1854200"/>
            <a:ext cx="1193800" cy="747713"/>
          </a:xfrm>
          <a:prstGeom prst="rect">
            <a:avLst/>
          </a:prstGeom>
          <a:noFill/>
          <a:ln w="9525">
            <a:noFill/>
            <a:round/>
            <a:headEnd/>
            <a:tailEnd/>
          </a:ln>
          <a:effectLst/>
        </p:spPr>
      </p:pic>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22" name="Text Box 6"/>
          <p:cNvSpPr txBox="1">
            <a:spLocks noChangeArrowheads="1"/>
          </p:cNvSpPr>
          <p:nvPr/>
        </p:nvSpPr>
        <p:spPr bwMode="auto">
          <a:xfrm>
            <a:off x="323850" y="195263"/>
            <a:ext cx="6408738" cy="576262"/>
          </a:xfrm>
          <a:prstGeom prst="rect">
            <a:avLst/>
          </a:prstGeom>
          <a:noFill/>
          <a:ln w="9525">
            <a:noFill/>
            <a:round/>
            <a:headEnd/>
            <a:tailEnd/>
          </a:ln>
          <a:effectLst/>
        </p:spPr>
        <p:txBody>
          <a:bodyPr lIns="0" tIns="0" rIns="0" bIns="0" anchor="b">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en-US" dirty="0" err="1" smtClean="0">
                <a:solidFill>
                  <a:srgbClr val="000000"/>
                </a:solidFill>
                <a:ea typeface="Arial Unicode MS" charset="0"/>
                <a:cs typeface="Arial Unicode MS" charset="0"/>
              </a:rPr>
              <a:t>Relevante</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Statistiken</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zu</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Erneuerbare</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Energien</a:t>
            </a:r>
            <a:endParaRPr lang="en-US" dirty="0">
              <a:solidFill>
                <a:srgbClr val="000000"/>
              </a:solidFill>
              <a:ea typeface="Arial Unicode MS" charset="0"/>
              <a:cs typeface="Arial Unicode MS" charset="0"/>
            </a:endParaRPr>
          </a:p>
        </p:txBody>
      </p:sp>
      <p:pic>
        <p:nvPicPr>
          <p:cNvPr id="22" name="Picture 21" descr="Bildschirmfoto 2017-04-27 um 11.28.52.png"/>
          <p:cNvPicPr>
            <a:picLocks noChangeAspect="1"/>
          </p:cNvPicPr>
          <p:nvPr/>
        </p:nvPicPr>
        <p:blipFill>
          <a:blip r:embed="rId3"/>
          <a:srcRect b="5287"/>
          <a:stretch>
            <a:fillRect/>
          </a:stretch>
        </p:blipFill>
        <p:spPr>
          <a:xfrm>
            <a:off x="304800" y="944574"/>
            <a:ext cx="8610600" cy="3989376"/>
          </a:xfrm>
          <a:prstGeom prst="rect">
            <a:avLst/>
          </a:prstGeom>
        </p:spPr>
      </p:pic>
    </p:spTree>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Ellipse 4"/>
          <p:cNvSpPr/>
          <p:nvPr>
            <p:custDataLst>
              <p:tags r:id="rId1"/>
            </p:custDataLst>
          </p:nvPr>
        </p:nvSpPr>
        <p:spPr bwMode="gray">
          <a:xfrm>
            <a:off x="1547580" y="1787174"/>
            <a:ext cx="2053340" cy="2053340"/>
          </a:xfrm>
          <a:prstGeom prst="ellipse">
            <a:avLst/>
          </a:prstGeom>
          <a:solidFill>
            <a:srgbClr val="800000">
              <a:alpha val="90000"/>
            </a:srgbClr>
          </a:solidFill>
          <a:ln w="952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45720" rIns="72000" bIns="45720" numCol="1" spcCol="0" rtlCol="0" fromWordArt="0" anchor="ctr" anchorCtr="0" forceAA="0" compatLnSpc="1">
            <a:prstTxWarp prst="textNoShape">
              <a:avLst/>
            </a:prstTxWarp>
            <a:noAutofit/>
          </a:bodyPr>
          <a:lstStyle/>
          <a:p>
            <a:pPr algn="ctr">
              <a:lnSpc>
                <a:spcPct val="90000"/>
              </a:lnSpc>
              <a:spcBef>
                <a:spcPts val="300"/>
              </a:spcBef>
            </a:pPr>
            <a:r>
              <a:rPr lang="en-US" sz="2800" dirty="0" err="1" smtClean="0">
                <a:solidFill>
                  <a:schemeClr val="bg1"/>
                </a:solidFill>
                <a:latin typeface="Arial" pitchFamily="34" charset="0"/>
                <a:cs typeface="Arial" pitchFamily="34" charset="0"/>
              </a:rPr>
              <a:t>Soll</a:t>
            </a:r>
            <a:r>
              <a:rPr lang="en-US" sz="2800" dirty="0" smtClean="0">
                <a:solidFill>
                  <a:schemeClr val="bg1"/>
                </a:solidFill>
                <a:latin typeface="Arial" pitchFamily="34" charset="0"/>
                <a:cs typeface="Arial" pitchFamily="34" charset="0"/>
              </a:rPr>
              <a:t>- </a:t>
            </a:r>
            <a:br>
              <a:rPr lang="en-US" sz="2800" dirty="0" smtClean="0">
                <a:solidFill>
                  <a:schemeClr val="bg1"/>
                </a:solidFill>
                <a:latin typeface="Arial" pitchFamily="34" charset="0"/>
                <a:cs typeface="Arial" pitchFamily="34" charset="0"/>
              </a:rPr>
            </a:br>
            <a:r>
              <a:rPr lang="en-US" sz="2800" dirty="0" err="1" smtClean="0">
                <a:solidFill>
                  <a:schemeClr val="bg1"/>
                </a:solidFill>
                <a:latin typeface="Arial" pitchFamily="34" charset="0"/>
                <a:cs typeface="Arial" pitchFamily="34" charset="0"/>
              </a:rPr>
              <a:t>Analyse</a:t>
            </a:r>
            <a:r>
              <a:rPr lang="en-US" sz="2800" dirty="0" smtClean="0">
                <a:solidFill>
                  <a:schemeClr val="bg1"/>
                </a:solidFill>
                <a:latin typeface="Arial" pitchFamily="34" charset="0"/>
                <a:cs typeface="Arial" pitchFamily="34" charset="0"/>
              </a:rPr>
              <a:t> &amp; </a:t>
            </a:r>
            <a:br>
              <a:rPr lang="en-US" sz="2800" dirty="0" smtClean="0">
                <a:solidFill>
                  <a:schemeClr val="bg1"/>
                </a:solidFill>
                <a:latin typeface="Arial" pitchFamily="34" charset="0"/>
                <a:cs typeface="Arial" pitchFamily="34" charset="0"/>
              </a:rPr>
            </a:br>
            <a:r>
              <a:rPr lang="en-US" sz="2800" dirty="0" err="1" smtClean="0">
                <a:solidFill>
                  <a:schemeClr val="bg1"/>
                </a:solidFill>
                <a:latin typeface="Arial" pitchFamily="34" charset="0"/>
                <a:cs typeface="Arial" pitchFamily="34" charset="0"/>
              </a:rPr>
              <a:t>Maß</a:t>
            </a:r>
            <a:r>
              <a:rPr lang="en-US" sz="2800" dirty="0" smtClean="0">
                <a:solidFill>
                  <a:schemeClr val="bg1"/>
                </a:solidFill>
                <a:latin typeface="Arial" pitchFamily="34" charset="0"/>
                <a:cs typeface="Arial" pitchFamily="34" charset="0"/>
              </a:rPr>
              <a:t>-</a:t>
            </a:r>
            <a:br>
              <a:rPr lang="en-US" sz="2800" dirty="0" smtClean="0">
                <a:solidFill>
                  <a:schemeClr val="bg1"/>
                </a:solidFill>
                <a:latin typeface="Arial" pitchFamily="34" charset="0"/>
                <a:cs typeface="Arial" pitchFamily="34" charset="0"/>
              </a:rPr>
            </a:br>
            <a:r>
              <a:rPr lang="en-US" sz="2800" dirty="0" err="1" smtClean="0">
                <a:solidFill>
                  <a:schemeClr val="bg1"/>
                </a:solidFill>
                <a:latin typeface="Arial" pitchFamily="34" charset="0"/>
                <a:cs typeface="Arial" pitchFamily="34" charset="0"/>
              </a:rPr>
              <a:t>nahmen</a:t>
            </a:r>
            <a:endParaRPr lang="en-US" sz="2800" dirty="0">
              <a:solidFill>
                <a:schemeClr val="bg1"/>
              </a:solidFill>
              <a:latin typeface="Arial" pitchFamily="34" charset="0"/>
              <a:cs typeface="Arial" pitchFamily="34" charset="0"/>
            </a:endParaRPr>
          </a:p>
        </p:txBody>
      </p:sp>
      <p:sp>
        <p:nvSpPr>
          <p:cNvPr id="6" name="Freihandform 5"/>
          <p:cNvSpPr/>
          <p:nvPr>
            <p:custDataLst>
              <p:tags r:id="rId2"/>
            </p:custDataLst>
          </p:nvPr>
        </p:nvSpPr>
        <p:spPr bwMode="gray">
          <a:xfrm>
            <a:off x="2619375" y="-23659"/>
            <a:ext cx="471488" cy="1757363"/>
          </a:xfrm>
          <a:custGeom>
            <a:avLst/>
            <a:gdLst>
              <a:gd name="connsiteX0" fmla="*/ 471488 w 471488"/>
              <a:gd name="connsiteY0" fmla="*/ 0 h 1757363"/>
              <a:gd name="connsiteX1" fmla="*/ 471488 w 471488"/>
              <a:gd name="connsiteY1" fmla="*/ 1285875 h 1757363"/>
              <a:gd name="connsiteX2" fmla="*/ 0 w 471488"/>
              <a:gd name="connsiteY2" fmla="*/ 1757363 h 1757363"/>
            </a:gdLst>
            <a:ahLst/>
            <a:cxnLst>
              <a:cxn ang="0">
                <a:pos x="connsiteX0" y="connsiteY0"/>
              </a:cxn>
              <a:cxn ang="0">
                <a:pos x="connsiteX1" y="connsiteY1"/>
              </a:cxn>
              <a:cxn ang="0">
                <a:pos x="connsiteX2" y="connsiteY2"/>
              </a:cxn>
            </a:cxnLst>
            <a:rect l="l" t="t" r="r" b="b"/>
            <a:pathLst>
              <a:path w="471488" h="1757363">
                <a:moveTo>
                  <a:pt x="471488" y="0"/>
                </a:moveTo>
                <a:lnTo>
                  <a:pt x="471488" y="1285875"/>
                </a:lnTo>
                <a:lnTo>
                  <a:pt x="0" y="1757363"/>
                </a:lnTo>
              </a:path>
            </a:pathLst>
          </a:custGeom>
          <a:noFill/>
          <a:ln w="2857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ihandform 9"/>
          <p:cNvSpPr/>
          <p:nvPr>
            <p:custDataLst>
              <p:tags r:id="rId3"/>
            </p:custDataLst>
          </p:nvPr>
        </p:nvSpPr>
        <p:spPr bwMode="gray">
          <a:xfrm>
            <a:off x="3223260" y="3704426"/>
            <a:ext cx="716280" cy="1531620"/>
          </a:xfrm>
          <a:custGeom>
            <a:avLst/>
            <a:gdLst>
              <a:gd name="connsiteX0" fmla="*/ 0 w 716280"/>
              <a:gd name="connsiteY0" fmla="*/ 0 h 1531620"/>
              <a:gd name="connsiteX1" fmla="*/ 716280 w 716280"/>
              <a:gd name="connsiteY1" fmla="*/ 716280 h 1531620"/>
              <a:gd name="connsiteX2" fmla="*/ 716280 w 716280"/>
              <a:gd name="connsiteY2" fmla="*/ 1531620 h 1531620"/>
            </a:gdLst>
            <a:ahLst/>
            <a:cxnLst>
              <a:cxn ang="0">
                <a:pos x="connsiteX0" y="connsiteY0"/>
              </a:cxn>
              <a:cxn ang="0">
                <a:pos x="connsiteX1" y="connsiteY1"/>
              </a:cxn>
              <a:cxn ang="0">
                <a:pos x="connsiteX2" y="connsiteY2"/>
              </a:cxn>
            </a:cxnLst>
            <a:rect l="l" t="t" r="r" b="b"/>
            <a:pathLst>
              <a:path w="716280" h="1531620">
                <a:moveTo>
                  <a:pt x="0" y="0"/>
                </a:moveTo>
                <a:lnTo>
                  <a:pt x="716280" y="716280"/>
                </a:lnTo>
                <a:lnTo>
                  <a:pt x="716280" y="1531620"/>
                </a:lnTo>
              </a:path>
            </a:pathLst>
          </a:custGeom>
          <a:noFill/>
          <a:ln w="2857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4033688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childTnLst>
                          </p:cTn>
                        </p:par>
                        <p:par>
                          <p:cTn id="14" fill="hold">
                            <p:stCondLst>
                              <p:cond delay="1000"/>
                            </p:stCondLst>
                            <p:childTnLst>
                              <p:par>
                                <p:cTn id="15" presetID="22" presetClass="entr" presetSubtype="1"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265" name="Text Box 1"/>
          <p:cNvSpPr txBox="1">
            <a:spLocks noChangeArrowheads="1"/>
          </p:cNvSpPr>
          <p:nvPr/>
        </p:nvSpPr>
        <p:spPr bwMode="auto">
          <a:xfrm>
            <a:off x="323850" y="195263"/>
            <a:ext cx="6408738" cy="576262"/>
          </a:xfrm>
          <a:prstGeom prst="rect">
            <a:avLst/>
          </a:prstGeom>
          <a:noFill/>
          <a:ln w="9525">
            <a:noFill/>
            <a:round/>
            <a:headEnd/>
            <a:tailEnd/>
          </a:ln>
          <a:effectLst/>
        </p:spPr>
        <p:txBody>
          <a:bodyPr lIns="90000" tIns="45000" rIns="90000" bIns="45000">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en-US">
                <a:solidFill>
                  <a:srgbClr val="000000"/>
                </a:solidFill>
                <a:ea typeface="Arial Unicode MS" charset="0"/>
                <a:cs typeface="Arial Unicode MS" charset="0"/>
              </a:rPr>
              <a:t>Was wollen wir und wie machen wir das?</a:t>
            </a:r>
          </a:p>
        </p:txBody>
      </p:sp>
      <p:sp>
        <p:nvSpPr>
          <p:cNvPr id="11266" name="Oval 2"/>
          <p:cNvSpPr>
            <a:spLocks noChangeArrowheads="1"/>
          </p:cNvSpPr>
          <p:nvPr/>
        </p:nvSpPr>
        <p:spPr bwMode="auto">
          <a:xfrm>
            <a:off x="5795963" y="2068513"/>
            <a:ext cx="4032250" cy="4032250"/>
          </a:xfrm>
          <a:prstGeom prst="ellipse">
            <a:avLst/>
          </a:prstGeom>
          <a:solidFill>
            <a:srgbClr val="D8DEA8">
              <a:alpha val="31000"/>
            </a:srgbClr>
          </a:solidFill>
          <a:ln w="9360">
            <a:noFill/>
            <a:round/>
            <a:headEnd/>
            <a:tailEnd/>
          </a:ln>
          <a:effectLst/>
        </p:spPr>
        <p:txBody>
          <a:bodyPr wrap="none" anchor="ctr">
            <a:prstTxWarp prst="textNoShape">
              <a:avLst/>
            </a:prstTxWarp>
          </a:bodyPr>
          <a:lstStyle/>
          <a:p>
            <a:endParaRPr lang="de-CH"/>
          </a:p>
        </p:txBody>
      </p:sp>
      <p:sp>
        <p:nvSpPr>
          <p:cNvPr id="11267" name="Oval 3"/>
          <p:cNvSpPr>
            <a:spLocks noChangeArrowheads="1"/>
          </p:cNvSpPr>
          <p:nvPr/>
        </p:nvSpPr>
        <p:spPr bwMode="auto">
          <a:xfrm>
            <a:off x="6011863" y="2314575"/>
            <a:ext cx="3563937" cy="3563938"/>
          </a:xfrm>
          <a:prstGeom prst="ellipse">
            <a:avLst/>
          </a:prstGeom>
          <a:solidFill>
            <a:srgbClr val="D8DEA8">
              <a:alpha val="50999"/>
            </a:srgbClr>
          </a:solidFill>
          <a:ln w="9360">
            <a:noFill/>
            <a:round/>
            <a:headEnd/>
            <a:tailEnd/>
          </a:ln>
          <a:effectLst/>
        </p:spPr>
        <p:txBody>
          <a:bodyPr wrap="none" anchor="ctr">
            <a:prstTxWarp prst="textNoShape">
              <a:avLst/>
            </a:prstTxWarp>
          </a:bodyPr>
          <a:lstStyle/>
          <a:p>
            <a:endParaRPr lang="de-CH"/>
          </a:p>
        </p:txBody>
      </p:sp>
      <p:sp>
        <p:nvSpPr>
          <p:cNvPr id="11268" name="Oval 4"/>
          <p:cNvSpPr>
            <a:spLocks noChangeArrowheads="1"/>
          </p:cNvSpPr>
          <p:nvPr/>
        </p:nvSpPr>
        <p:spPr bwMode="auto">
          <a:xfrm>
            <a:off x="6249988" y="2533650"/>
            <a:ext cx="3095625" cy="3095625"/>
          </a:xfrm>
          <a:prstGeom prst="ellipse">
            <a:avLst/>
          </a:prstGeom>
          <a:solidFill>
            <a:srgbClr val="D8DEA8">
              <a:alpha val="70000"/>
            </a:srgbClr>
          </a:solidFill>
          <a:ln w="9360">
            <a:noFill/>
            <a:round/>
            <a:headEnd/>
            <a:tailEnd/>
          </a:ln>
          <a:effectLst/>
        </p:spPr>
        <p:txBody>
          <a:bodyPr wrap="none" anchor="ctr">
            <a:prstTxWarp prst="textNoShape">
              <a:avLst/>
            </a:prstTxWarp>
          </a:bodyPr>
          <a:lstStyle/>
          <a:p>
            <a:endParaRPr lang="de-CH"/>
          </a:p>
        </p:txBody>
      </p:sp>
      <p:sp>
        <p:nvSpPr>
          <p:cNvPr id="11269" name="Oval 5"/>
          <p:cNvSpPr>
            <a:spLocks noChangeArrowheads="1"/>
          </p:cNvSpPr>
          <p:nvPr/>
        </p:nvSpPr>
        <p:spPr bwMode="auto">
          <a:xfrm>
            <a:off x="6516688" y="2803525"/>
            <a:ext cx="2592387" cy="2592388"/>
          </a:xfrm>
          <a:prstGeom prst="ellipse">
            <a:avLst/>
          </a:prstGeom>
          <a:solidFill>
            <a:srgbClr val="D8DEA8"/>
          </a:solidFill>
          <a:ln w="9360">
            <a:noFill/>
            <a:round/>
            <a:headEnd/>
            <a:tailEnd/>
          </a:ln>
          <a:effectLst/>
        </p:spPr>
        <p:txBody>
          <a:bodyPr wrap="none" anchor="ctr">
            <a:prstTxWarp prst="textNoShape">
              <a:avLst/>
            </a:prstTxWarp>
          </a:bodyPr>
          <a:lstStyle/>
          <a:p>
            <a:endParaRPr lang="de-CH"/>
          </a:p>
        </p:txBody>
      </p:sp>
      <p:sp>
        <p:nvSpPr>
          <p:cNvPr id="11270" name="Oval 6"/>
          <p:cNvSpPr>
            <a:spLocks noChangeArrowheads="1"/>
          </p:cNvSpPr>
          <p:nvPr/>
        </p:nvSpPr>
        <p:spPr bwMode="auto">
          <a:xfrm>
            <a:off x="6724650" y="3014663"/>
            <a:ext cx="2160588" cy="2160587"/>
          </a:xfrm>
          <a:prstGeom prst="ellipse">
            <a:avLst/>
          </a:prstGeom>
          <a:solidFill>
            <a:srgbClr val="C6CE79"/>
          </a:solidFill>
          <a:ln w="9360">
            <a:noFill/>
            <a:round/>
            <a:headEnd/>
            <a:tailEnd/>
          </a:ln>
          <a:effectLst/>
        </p:spPr>
        <p:txBody>
          <a:bodyPr wrap="none" anchor="ctr">
            <a:prstTxWarp prst="textNoShape">
              <a:avLst/>
            </a:prstTxWarp>
          </a:bodyPr>
          <a:lstStyle/>
          <a:p>
            <a:endParaRPr lang="de-CH"/>
          </a:p>
        </p:txBody>
      </p:sp>
      <p:sp>
        <p:nvSpPr>
          <p:cNvPr id="11271" name="Oval 7"/>
          <p:cNvSpPr>
            <a:spLocks noChangeArrowheads="1"/>
          </p:cNvSpPr>
          <p:nvPr/>
        </p:nvSpPr>
        <p:spPr bwMode="auto">
          <a:xfrm>
            <a:off x="6883400" y="3170238"/>
            <a:ext cx="1835150" cy="1835150"/>
          </a:xfrm>
          <a:prstGeom prst="ellipse">
            <a:avLst/>
          </a:prstGeom>
          <a:solidFill>
            <a:srgbClr val="B4BE46"/>
          </a:solidFill>
          <a:ln w="9360">
            <a:noFill/>
            <a:round/>
            <a:headEnd/>
            <a:tailEnd/>
          </a:ln>
          <a:effectLst/>
        </p:spPr>
        <p:txBody>
          <a:bodyPr wrap="none" anchor="ctr">
            <a:prstTxWarp prst="textNoShape">
              <a:avLst/>
            </a:prstTxWarp>
          </a:bodyPr>
          <a:lstStyle/>
          <a:p>
            <a:endParaRPr lang="de-CH"/>
          </a:p>
        </p:txBody>
      </p:sp>
      <p:sp>
        <p:nvSpPr>
          <p:cNvPr id="11272" name="Oval 8"/>
          <p:cNvSpPr>
            <a:spLocks noChangeArrowheads="1"/>
          </p:cNvSpPr>
          <p:nvPr/>
        </p:nvSpPr>
        <p:spPr bwMode="auto">
          <a:xfrm>
            <a:off x="7092950" y="3363913"/>
            <a:ext cx="1439863" cy="1439862"/>
          </a:xfrm>
          <a:prstGeom prst="ellipse">
            <a:avLst/>
          </a:prstGeom>
          <a:solidFill>
            <a:srgbClr val="A2AD00"/>
          </a:solidFill>
          <a:ln w="9360">
            <a:noFill/>
            <a:round/>
            <a:headEnd/>
            <a:tailEnd/>
          </a:ln>
          <a:effectLst/>
        </p:spPr>
        <p:txBody>
          <a:bodyPr wrap="none" anchor="ctr">
            <a:prstTxWarp prst="textNoShape">
              <a:avLst/>
            </a:prstTxWarp>
          </a:bodyPr>
          <a:lstStyle/>
          <a:p>
            <a:endParaRPr lang="de-CH"/>
          </a:p>
        </p:txBody>
      </p:sp>
      <p:grpSp>
        <p:nvGrpSpPr>
          <p:cNvPr id="11273" name="Group 9"/>
          <p:cNvGrpSpPr>
            <a:grpSpLocks/>
          </p:cNvGrpSpPr>
          <p:nvPr/>
        </p:nvGrpSpPr>
        <p:grpSpPr bwMode="auto">
          <a:xfrm>
            <a:off x="6804025" y="3148013"/>
            <a:ext cx="1870075" cy="1743075"/>
            <a:chOff x="4286" y="1983"/>
            <a:chExt cx="1178" cy="1098"/>
          </a:xfrm>
        </p:grpSpPr>
        <p:grpSp>
          <p:nvGrpSpPr>
            <p:cNvPr id="11274" name="Group 10"/>
            <p:cNvGrpSpPr>
              <a:grpSpLocks/>
            </p:cNvGrpSpPr>
            <p:nvPr/>
          </p:nvGrpSpPr>
          <p:grpSpPr bwMode="auto">
            <a:xfrm>
              <a:off x="4785" y="1983"/>
              <a:ext cx="376" cy="1098"/>
              <a:chOff x="4785" y="1983"/>
              <a:chExt cx="376" cy="1098"/>
            </a:xfrm>
          </p:grpSpPr>
        </p:grpSp>
        <p:grpSp>
          <p:nvGrpSpPr>
            <p:cNvPr id="11278" name="Group 14"/>
            <p:cNvGrpSpPr>
              <a:grpSpLocks/>
            </p:cNvGrpSpPr>
            <p:nvPr/>
          </p:nvGrpSpPr>
          <p:grpSpPr bwMode="auto">
            <a:xfrm>
              <a:off x="4447" y="2177"/>
              <a:ext cx="306" cy="327"/>
              <a:chOff x="4447" y="2177"/>
              <a:chExt cx="306" cy="327"/>
            </a:xfrm>
          </p:grpSpPr>
        </p:grpSp>
        <p:grpSp>
          <p:nvGrpSpPr>
            <p:cNvPr id="11281" name="Group 17"/>
            <p:cNvGrpSpPr>
              <a:grpSpLocks/>
            </p:cNvGrpSpPr>
            <p:nvPr/>
          </p:nvGrpSpPr>
          <p:grpSpPr bwMode="auto">
            <a:xfrm>
              <a:off x="5279" y="2074"/>
              <a:ext cx="185" cy="454"/>
              <a:chOff x="5279" y="2074"/>
              <a:chExt cx="185" cy="454"/>
            </a:xfrm>
          </p:grpSpPr>
          <p:sp>
            <p:nvSpPr>
              <p:cNvPr id="11282" name="Freeform 18"/>
              <p:cNvSpPr>
                <a:spLocks noChangeArrowheads="1"/>
              </p:cNvSpPr>
              <p:nvPr/>
            </p:nvSpPr>
            <p:spPr bwMode="auto">
              <a:xfrm>
                <a:off x="5311" y="2293"/>
                <a:ext cx="120" cy="234"/>
              </a:xfrm>
              <a:custGeom>
                <a:avLst/>
                <a:gdLst>
                  <a:gd name="G0" fmla="*/ 94 147 1"/>
                  <a:gd name="G1" fmla="*/ G0 1 147"/>
                  <a:gd name="G2" fmla="*/ 19 287 1"/>
                  <a:gd name="G3" fmla="*/ G2 1 287"/>
                  <a:gd name="G4" fmla="*/ 86 147 1"/>
                  <a:gd name="G5" fmla="*/ G4 1 147"/>
                  <a:gd name="G6" fmla="*/ 18 287 1"/>
                  <a:gd name="G7" fmla="*/ G6 1 287"/>
                  <a:gd name="G8" fmla="*/ 87 147 1"/>
                  <a:gd name="G9" fmla="*/ G8 1 147"/>
                  <a:gd name="G10" fmla="*/ 20 287 1"/>
                  <a:gd name="G11" fmla="*/ G10 1 287"/>
                  <a:gd name="G12" fmla="*/ 87 147 1"/>
                  <a:gd name="G13" fmla="*/ G12 1 147"/>
                  <a:gd name="G14" fmla="*/ 41 287 1"/>
                  <a:gd name="G15" fmla="*/ G14 1 287"/>
                  <a:gd name="G16" fmla="*/ 80 147 1"/>
                  <a:gd name="G17" fmla="*/ G16 1 147"/>
                  <a:gd name="G18" fmla="*/ 50 287 1"/>
                  <a:gd name="G19" fmla="*/ G18 1 287"/>
                  <a:gd name="G20" fmla="*/ 67 147 1"/>
                  <a:gd name="G21" fmla="*/ G20 1 147"/>
                  <a:gd name="G22" fmla="*/ 57 287 1"/>
                  <a:gd name="G23" fmla="*/ G22 1 287"/>
                  <a:gd name="G24" fmla="*/ 62 147 1"/>
                  <a:gd name="G25" fmla="*/ G24 1 147"/>
                  <a:gd name="G26" fmla="*/ 57 287 1"/>
                  <a:gd name="G27" fmla="*/ G26 1 287"/>
                  <a:gd name="G28" fmla="*/ 51 147 1"/>
                  <a:gd name="G29" fmla="*/ G28 1 147"/>
                  <a:gd name="G30" fmla="*/ 55 287 1"/>
                  <a:gd name="G31" fmla="*/ G30 1 287"/>
                  <a:gd name="G32" fmla="*/ 1 0 51712"/>
                  <a:gd name="G33" fmla="*/ G32 147 1"/>
                  <a:gd name="G34" fmla="*/ G33 1 147"/>
                  <a:gd name="G35" fmla="*/ 25 287 1"/>
                  <a:gd name="G36" fmla="*/ G35 1 287"/>
                  <a:gd name="G37" fmla="*/ 1 0 51712"/>
                  <a:gd name="G38" fmla="*/ G37 147 1"/>
                  <a:gd name="G39" fmla="*/ G38 1 147"/>
                  <a:gd name="G40" fmla="*/ 47 287 1"/>
                  <a:gd name="G41" fmla="*/ G40 1 287"/>
                  <a:gd name="G42" fmla="*/ 1 0 51712"/>
                  <a:gd name="G43" fmla="*/ G42 147 1"/>
                  <a:gd name="G44" fmla="*/ G43 1 147"/>
                  <a:gd name="G45" fmla="*/ 254 287 1"/>
                  <a:gd name="G46" fmla="*/ G45 1 287"/>
                  <a:gd name="G47" fmla="*/ 34 147 1"/>
                  <a:gd name="G48" fmla="*/ G47 1 147"/>
                  <a:gd name="G49" fmla="*/ 287 287 1"/>
                  <a:gd name="G50" fmla="*/ G49 1 287"/>
                  <a:gd name="G51" fmla="*/ 67 147 1"/>
                  <a:gd name="G52" fmla="*/ G51 1 147"/>
                  <a:gd name="G53" fmla="*/ 254 287 1"/>
                  <a:gd name="G54" fmla="*/ G53 1 287"/>
                  <a:gd name="G55" fmla="*/ 67 147 1"/>
                  <a:gd name="G56" fmla="*/ G55 1 147"/>
                  <a:gd name="G57" fmla="*/ 68 287 1"/>
                  <a:gd name="G58" fmla="*/ G57 1 287"/>
                  <a:gd name="G59" fmla="*/ 80 147 1"/>
                  <a:gd name="G60" fmla="*/ G59 1 147"/>
                  <a:gd name="G61" fmla="*/ 68 287 1"/>
                  <a:gd name="G62" fmla="*/ G61 1 287"/>
                  <a:gd name="G63" fmla="*/ 80 147 1"/>
                  <a:gd name="G64" fmla="*/ G63 1 147"/>
                  <a:gd name="G65" fmla="*/ 254 287 1"/>
                  <a:gd name="G66" fmla="*/ G65 1 287"/>
                  <a:gd name="G67" fmla="*/ 113 147 1"/>
                  <a:gd name="G68" fmla="*/ G67 1 147"/>
                  <a:gd name="G69" fmla="*/ 287 287 1"/>
                  <a:gd name="G70" fmla="*/ G69 1 287"/>
                  <a:gd name="G71" fmla="*/ 147 147 1"/>
                  <a:gd name="G72" fmla="*/ G71 1 147"/>
                  <a:gd name="G73" fmla="*/ 254 287 1"/>
                  <a:gd name="G74" fmla="*/ G73 1 287"/>
                  <a:gd name="G75" fmla="*/ 147 147 1"/>
                  <a:gd name="G76" fmla="*/ G75 1 147"/>
                  <a:gd name="G77" fmla="*/ 47 287 1"/>
                  <a:gd name="G78" fmla="*/ G77 1 287"/>
                  <a:gd name="G79" fmla="*/ 147 147 1"/>
                  <a:gd name="G80" fmla="*/ G79 1 147"/>
                  <a:gd name="G81" fmla="*/ 1 0 51712"/>
                  <a:gd name="G82" fmla="*/ G81 287 1"/>
                  <a:gd name="G83" fmla="*/ G82 1 287"/>
                  <a:gd name="G84" fmla="*/ 101 147 1"/>
                  <a:gd name="G85" fmla="*/ G84 1 147"/>
                  <a:gd name="G86" fmla="*/ 18 287 1"/>
                  <a:gd name="G87" fmla="*/ G86 1 287"/>
                  <a:gd name="G88" fmla="*/ 94 147 1"/>
                  <a:gd name="G89" fmla="*/ G88 1 147"/>
                  <a:gd name="G90" fmla="*/ 19 287 1"/>
                  <a:gd name="G91" fmla="*/ G90 1 287"/>
                  <a:gd name="G92" fmla="+- 147 0 0"/>
                  <a:gd name="G93" fmla="+- 287 0 0"/>
                </a:gdLst>
                <a:ahLst/>
                <a:cxnLst>
                  <a:cxn ang="0">
                    <a:pos x="94" y="19"/>
                  </a:cxn>
                  <a:cxn ang="0">
                    <a:pos x="86" y="18"/>
                  </a:cxn>
                  <a:cxn ang="0">
                    <a:pos x="87" y="20"/>
                  </a:cxn>
                  <a:cxn ang="0">
                    <a:pos x="87" y="41"/>
                  </a:cxn>
                  <a:cxn ang="0">
                    <a:pos x="80" y="50"/>
                  </a:cxn>
                  <a:cxn ang="0">
                    <a:pos x="67" y="57"/>
                  </a:cxn>
                  <a:cxn ang="0">
                    <a:pos x="62" y="57"/>
                  </a:cxn>
                  <a:cxn ang="0">
                    <a:pos x="51" y="55"/>
                  </a:cxn>
                  <a:cxn ang="0">
                    <a:pos x="0" y="25"/>
                  </a:cxn>
                  <a:cxn ang="0">
                    <a:pos x="0" y="47"/>
                  </a:cxn>
                  <a:cxn ang="0">
                    <a:pos x="0" y="254"/>
                  </a:cxn>
                  <a:cxn ang="0">
                    <a:pos x="34" y="287"/>
                  </a:cxn>
                  <a:cxn ang="0">
                    <a:pos x="67" y="254"/>
                  </a:cxn>
                  <a:cxn ang="0">
                    <a:pos x="67" y="68"/>
                  </a:cxn>
                  <a:cxn ang="0">
                    <a:pos x="80" y="68"/>
                  </a:cxn>
                  <a:cxn ang="0">
                    <a:pos x="80" y="254"/>
                  </a:cxn>
                  <a:cxn ang="0">
                    <a:pos x="113" y="287"/>
                  </a:cxn>
                  <a:cxn ang="0">
                    <a:pos x="147" y="254"/>
                  </a:cxn>
                  <a:cxn ang="0">
                    <a:pos x="147" y="47"/>
                  </a:cxn>
                  <a:cxn ang="0">
                    <a:pos x="147" y="0"/>
                  </a:cxn>
                  <a:cxn ang="0">
                    <a:pos x="101" y="18"/>
                  </a:cxn>
                  <a:cxn ang="0">
                    <a:pos x="94" y="19"/>
                  </a:cxn>
                </a:cxnLst>
                <a:rect l="0" t="0" r="r" b="b"/>
                <a:pathLst>
                  <a:path w="147" h="287">
                    <a:moveTo>
                      <a:pt x="94" y="19"/>
                    </a:moveTo>
                    <a:cubicBezTo>
                      <a:pt x="91" y="19"/>
                      <a:pt x="89" y="19"/>
                      <a:pt x="86" y="18"/>
                    </a:cubicBezTo>
                    <a:cubicBezTo>
                      <a:pt x="87" y="19"/>
                      <a:pt x="87" y="19"/>
                      <a:pt x="87" y="20"/>
                    </a:cubicBezTo>
                    <a:cubicBezTo>
                      <a:pt x="90" y="27"/>
                      <a:pt x="90" y="34"/>
                      <a:pt x="87" y="41"/>
                    </a:cubicBezTo>
                    <a:cubicBezTo>
                      <a:pt x="85" y="45"/>
                      <a:pt x="83" y="48"/>
                      <a:pt x="80" y="50"/>
                    </a:cubicBezTo>
                    <a:cubicBezTo>
                      <a:pt x="76" y="53"/>
                      <a:pt x="72" y="56"/>
                      <a:pt x="67" y="57"/>
                    </a:cubicBezTo>
                    <a:cubicBezTo>
                      <a:pt x="66" y="57"/>
                      <a:pt x="64" y="57"/>
                      <a:pt x="62" y="57"/>
                    </a:cubicBezTo>
                    <a:cubicBezTo>
                      <a:pt x="58" y="57"/>
                      <a:pt x="55" y="56"/>
                      <a:pt x="51" y="55"/>
                    </a:cubicBezTo>
                    <a:cubicBezTo>
                      <a:pt x="31" y="46"/>
                      <a:pt x="14" y="36"/>
                      <a:pt x="0" y="25"/>
                    </a:cubicBezTo>
                    <a:cubicBezTo>
                      <a:pt x="0" y="47"/>
                      <a:pt x="0" y="47"/>
                      <a:pt x="0" y="47"/>
                    </a:cubicBezTo>
                    <a:cubicBezTo>
                      <a:pt x="0" y="254"/>
                      <a:pt x="0" y="254"/>
                      <a:pt x="0" y="254"/>
                    </a:cubicBezTo>
                    <a:cubicBezTo>
                      <a:pt x="0" y="272"/>
                      <a:pt x="15" y="287"/>
                      <a:pt x="34" y="287"/>
                    </a:cubicBezTo>
                    <a:cubicBezTo>
                      <a:pt x="52" y="287"/>
                      <a:pt x="67" y="272"/>
                      <a:pt x="67" y="254"/>
                    </a:cubicBezTo>
                    <a:cubicBezTo>
                      <a:pt x="67" y="68"/>
                      <a:pt x="67" y="68"/>
                      <a:pt x="67" y="68"/>
                    </a:cubicBezTo>
                    <a:cubicBezTo>
                      <a:pt x="80" y="68"/>
                      <a:pt x="80" y="68"/>
                      <a:pt x="80" y="68"/>
                    </a:cubicBezTo>
                    <a:cubicBezTo>
                      <a:pt x="80" y="254"/>
                      <a:pt x="80" y="254"/>
                      <a:pt x="80" y="254"/>
                    </a:cubicBezTo>
                    <a:cubicBezTo>
                      <a:pt x="80" y="272"/>
                      <a:pt x="95" y="287"/>
                      <a:pt x="113" y="287"/>
                    </a:cubicBezTo>
                    <a:cubicBezTo>
                      <a:pt x="132" y="287"/>
                      <a:pt x="147" y="272"/>
                      <a:pt x="147" y="254"/>
                    </a:cubicBezTo>
                    <a:cubicBezTo>
                      <a:pt x="147" y="47"/>
                      <a:pt x="147" y="47"/>
                      <a:pt x="147" y="47"/>
                    </a:cubicBezTo>
                    <a:cubicBezTo>
                      <a:pt x="147" y="0"/>
                      <a:pt x="147" y="0"/>
                      <a:pt x="147" y="0"/>
                    </a:cubicBezTo>
                    <a:cubicBezTo>
                      <a:pt x="134" y="7"/>
                      <a:pt x="119" y="13"/>
                      <a:pt x="101" y="18"/>
                    </a:cubicBezTo>
                    <a:cubicBezTo>
                      <a:pt x="99" y="19"/>
                      <a:pt x="97" y="19"/>
                      <a:pt x="94" y="19"/>
                    </a:cubicBezTo>
                    <a:close/>
                  </a:path>
                </a:pathLst>
              </a:custGeom>
              <a:noFill/>
              <a:ln w="9525">
                <a:noFill/>
                <a:round/>
                <a:headEnd/>
                <a:tailEnd/>
              </a:ln>
              <a:effectLst/>
            </p:spPr>
            <p:txBody>
              <a:bodyPr wrap="none" anchor="ctr">
                <a:prstTxWarp prst="textNoShape">
                  <a:avLst/>
                </a:prstTxWarp>
              </a:bodyPr>
              <a:lstStyle/>
              <a:p>
                <a:endParaRPr lang="de-CH"/>
              </a:p>
            </p:txBody>
          </p:sp>
          <p:sp>
            <p:nvSpPr>
              <p:cNvPr id="11284" name="Freeform 20"/>
              <p:cNvSpPr>
                <a:spLocks noChangeArrowheads="1"/>
              </p:cNvSpPr>
              <p:nvPr/>
            </p:nvSpPr>
            <p:spPr bwMode="auto">
              <a:xfrm>
                <a:off x="5320" y="2074"/>
                <a:ext cx="106" cy="108"/>
              </a:xfrm>
              <a:custGeom>
                <a:avLst/>
                <a:gdLst>
                  <a:gd name="G0" fmla="*/ 50 131 1"/>
                  <a:gd name="G1" fmla="*/ G0 1 131"/>
                  <a:gd name="G2" fmla="*/ 126 132 1"/>
                  <a:gd name="G3" fmla="*/ G2 1 132"/>
                  <a:gd name="G4" fmla="*/ 111 131 1"/>
                  <a:gd name="G5" fmla="*/ G4 1 131"/>
                  <a:gd name="G6" fmla="*/ 105 132 1"/>
                  <a:gd name="G7" fmla="*/ G6 1 132"/>
                  <a:gd name="G8" fmla="*/ 123 131 1"/>
                  <a:gd name="G9" fmla="*/ G8 1 131"/>
                  <a:gd name="G10" fmla="*/ 81 132 1"/>
                  <a:gd name="G11" fmla="*/ G10 1 132"/>
                  <a:gd name="G12" fmla="*/ 77 131 1"/>
                  <a:gd name="G13" fmla="*/ G12 1 131"/>
                  <a:gd name="G14" fmla="*/ 7 132 1"/>
                  <a:gd name="G15" fmla="*/ G14 1 132"/>
                  <a:gd name="G16" fmla="*/ 4 131 1"/>
                  <a:gd name="G17" fmla="*/ G16 1 131"/>
                  <a:gd name="G18" fmla="*/ 53 132 1"/>
                  <a:gd name="G19" fmla="*/ G18 1 132"/>
                  <a:gd name="G20" fmla="*/ 16 131 1"/>
                  <a:gd name="G21" fmla="*/ G20 1 131"/>
                  <a:gd name="G22" fmla="*/ 105 132 1"/>
                  <a:gd name="G23" fmla="*/ G22 1 132"/>
                  <a:gd name="G24" fmla="*/ 50 131 1"/>
                  <a:gd name="G25" fmla="*/ G24 1 131"/>
                  <a:gd name="G26" fmla="*/ 126 132 1"/>
                  <a:gd name="G27" fmla="*/ G26 1 132"/>
                  <a:gd name="G28" fmla="+- 131 0 0"/>
                  <a:gd name="G29" fmla="+- 132 0 0"/>
                </a:gdLst>
                <a:ahLst/>
                <a:cxnLst>
                  <a:cxn ang="0">
                    <a:pos x="50" y="126"/>
                  </a:cxn>
                  <a:cxn ang="0">
                    <a:pos x="111" y="105"/>
                  </a:cxn>
                  <a:cxn ang="0">
                    <a:pos x="123" y="81"/>
                  </a:cxn>
                  <a:cxn ang="0">
                    <a:pos x="77" y="7"/>
                  </a:cxn>
                  <a:cxn ang="0">
                    <a:pos x="4" y="53"/>
                  </a:cxn>
                  <a:cxn ang="0">
                    <a:pos x="16" y="105"/>
                  </a:cxn>
                  <a:cxn ang="0">
                    <a:pos x="50" y="126"/>
                  </a:cxn>
                </a:cxnLst>
                <a:rect l="0" t="0" r="r" b="b"/>
                <a:pathLst>
                  <a:path w="131" h="132">
                    <a:moveTo>
                      <a:pt x="50" y="126"/>
                    </a:moveTo>
                    <a:cubicBezTo>
                      <a:pt x="73" y="132"/>
                      <a:pt x="97" y="123"/>
                      <a:pt x="111" y="105"/>
                    </a:cubicBezTo>
                    <a:cubicBezTo>
                      <a:pt x="117" y="98"/>
                      <a:pt x="121" y="90"/>
                      <a:pt x="123" y="81"/>
                    </a:cubicBezTo>
                    <a:cubicBezTo>
                      <a:pt x="131" y="48"/>
                      <a:pt x="110" y="15"/>
                      <a:pt x="77" y="7"/>
                    </a:cubicBezTo>
                    <a:cubicBezTo>
                      <a:pt x="45" y="0"/>
                      <a:pt x="12" y="20"/>
                      <a:pt x="4" y="53"/>
                    </a:cubicBezTo>
                    <a:cubicBezTo>
                      <a:pt x="0" y="72"/>
                      <a:pt x="5" y="91"/>
                      <a:pt x="16" y="105"/>
                    </a:cubicBezTo>
                    <a:cubicBezTo>
                      <a:pt x="25" y="115"/>
                      <a:pt x="36" y="123"/>
                      <a:pt x="50" y="126"/>
                    </a:cubicBezTo>
                    <a:close/>
                  </a:path>
                </a:pathLst>
              </a:custGeom>
              <a:noFill/>
              <a:ln w="9525">
                <a:noFill/>
                <a:round/>
                <a:headEnd/>
                <a:tailEnd/>
              </a:ln>
              <a:effectLst/>
            </p:spPr>
            <p:txBody>
              <a:bodyPr wrap="none" anchor="ctr">
                <a:prstTxWarp prst="textNoShape">
                  <a:avLst/>
                </a:prstTxWarp>
              </a:bodyPr>
              <a:lstStyle/>
              <a:p>
                <a:endParaRPr lang="de-CH"/>
              </a:p>
            </p:txBody>
          </p:sp>
        </p:grpSp>
        <p:sp>
          <p:nvSpPr>
            <p:cNvPr id="11285" name="Freeform 21"/>
            <p:cNvSpPr>
              <a:spLocks noChangeArrowheads="1"/>
            </p:cNvSpPr>
            <p:nvPr/>
          </p:nvSpPr>
          <p:spPr bwMode="auto">
            <a:xfrm>
              <a:off x="4286" y="2404"/>
              <a:ext cx="113" cy="164"/>
            </a:xfrm>
            <a:custGeom>
              <a:avLst/>
              <a:gdLst>
                <a:gd name="G0" fmla="*/ 755 1440 1"/>
                <a:gd name="G1" fmla="*/ G0 1 1440"/>
                <a:gd name="G2" fmla="*/ 60 2080 1"/>
                <a:gd name="G3" fmla="*/ G2 1 2080"/>
                <a:gd name="G4" fmla="*/ 1068 1440 1"/>
                <a:gd name="G5" fmla="*/ G4 1 1440"/>
                <a:gd name="G6" fmla="*/ 549 2080 1"/>
                <a:gd name="G7" fmla="*/ G6 1 2080"/>
                <a:gd name="G8" fmla="*/ 1440 1440 1"/>
                <a:gd name="G9" fmla="*/ G8 1 1440"/>
                <a:gd name="G10" fmla="*/ 1360 2080 1"/>
                <a:gd name="G11" fmla="*/ G10 1 2080"/>
                <a:gd name="G12" fmla="*/ 720 1440 1"/>
                <a:gd name="G13" fmla="*/ G12 1 1440"/>
                <a:gd name="G14" fmla="*/ 2080 2080 1"/>
                <a:gd name="G15" fmla="*/ G14 1 2080"/>
                <a:gd name="G16" fmla="*/ 1 0 51712"/>
                <a:gd name="G17" fmla="*/ G16 1440 1"/>
                <a:gd name="G18" fmla="*/ G17 1 1440"/>
                <a:gd name="G19" fmla="*/ 1360 2080 1"/>
                <a:gd name="G20" fmla="*/ G19 1 2080"/>
                <a:gd name="G21" fmla="*/ 372 1440 1"/>
                <a:gd name="G22" fmla="*/ G21 1 1440"/>
                <a:gd name="G23" fmla="*/ 549 2080 1"/>
                <a:gd name="G24" fmla="*/ G23 1 2080"/>
                <a:gd name="G25" fmla="*/ 685 1440 1"/>
                <a:gd name="G26" fmla="*/ G25 1 1440"/>
                <a:gd name="G27" fmla="*/ 60 2080 1"/>
                <a:gd name="G28" fmla="*/ G27 1 2080"/>
                <a:gd name="G29" fmla="*/ 720 1440 1"/>
                <a:gd name="G30" fmla="*/ G29 1 1440"/>
                <a:gd name="G31" fmla="*/ 1 0 51712"/>
                <a:gd name="G32" fmla="*/ G31 2080 1"/>
                <a:gd name="G33" fmla="*/ G32 1 2080"/>
                <a:gd name="G34" fmla="*/ 755 1440 1"/>
                <a:gd name="G35" fmla="*/ G34 1 1440"/>
                <a:gd name="G36" fmla="*/ 60 2080 1"/>
                <a:gd name="G37" fmla="*/ G36 1 2080"/>
                <a:gd name="G38" fmla="*/ 1200 1440 1"/>
                <a:gd name="G39" fmla="*/ G38 1 1440"/>
                <a:gd name="G40" fmla="*/ 1360 2080 1"/>
                <a:gd name="G41" fmla="*/ G40 1 2080"/>
                <a:gd name="G42" fmla="*/ 1120 1440 1"/>
                <a:gd name="G43" fmla="*/ G42 1 1440"/>
                <a:gd name="G44" fmla="*/ 1360 2080 1"/>
                <a:gd name="G45" fmla="*/ G44 1 2080"/>
                <a:gd name="G46" fmla="*/ 720 1440 1"/>
                <a:gd name="G47" fmla="*/ G46 1 1440"/>
                <a:gd name="G48" fmla="*/ 1760 2080 1"/>
                <a:gd name="G49" fmla="*/ G48 1 2080"/>
                <a:gd name="G50" fmla="*/ 720 1440 1"/>
                <a:gd name="G51" fmla="*/ G50 1 1440"/>
                <a:gd name="G52" fmla="*/ 1840 2080 1"/>
                <a:gd name="G53" fmla="*/ G52 1 2080"/>
                <a:gd name="G54" fmla="*/ 1200 1440 1"/>
                <a:gd name="G55" fmla="*/ G54 1 1440"/>
                <a:gd name="G56" fmla="*/ 1360 2080 1"/>
                <a:gd name="G57" fmla="*/ G56 1 2080"/>
                <a:gd name="G58" fmla="+- 1440 0 0"/>
                <a:gd name="G59" fmla="+- 2080 0 0"/>
              </a:gdLst>
              <a:ahLst/>
              <a:cxnLst>
                <a:cxn ang="0">
                  <a:pos x="755" y="60"/>
                </a:cxn>
                <a:cxn ang="0">
                  <a:pos x="1068" y="549"/>
                </a:cxn>
                <a:cxn ang="0">
                  <a:pos x="1440" y="1360"/>
                </a:cxn>
                <a:cxn ang="0">
                  <a:pos x="720" y="2080"/>
                </a:cxn>
                <a:cxn ang="0">
                  <a:pos x="0" y="1360"/>
                </a:cxn>
                <a:cxn ang="0">
                  <a:pos x="372" y="549"/>
                </a:cxn>
                <a:cxn ang="0">
                  <a:pos x="685" y="60"/>
                </a:cxn>
                <a:cxn ang="0">
                  <a:pos x="720" y="0"/>
                </a:cxn>
                <a:cxn ang="0">
                  <a:pos x="755" y="60"/>
                </a:cxn>
                <a:cxn ang="0">
                  <a:pos x="1200" y="1360"/>
                </a:cxn>
                <a:cxn ang="0">
                  <a:pos x="1120" y="1360"/>
                </a:cxn>
                <a:cxn ang="0">
                  <a:pos x="720" y="1760"/>
                </a:cxn>
                <a:cxn ang="0">
                  <a:pos x="720" y="1840"/>
                </a:cxn>
                <a:cxn ang="0">
                  <a:pos x="1200" y="1360"/>
                </a:cxn>
              </a:cxnLst>
              <a:rect l="0" t="0" r="r" b="b"/>
              <a:pathLst>
                <a:path w="1440" h="2080">
                  <a:moveTo>
                    <a:pt x="755" y="60"/>
                  </a:moveTo>
                  <a:cubicBezTo>
                    <a:pt x="860" y="244"/>
                    <a:pt x="968" y="404"/>
                    <a:pt x="1068" y="549"/>
                  </a:cubicBezTo>
                  <a:cubicBezTo>
                    <a:pt x="1275" y="853"/>
                    <a:pt x="1440" y="1096"/>
                    <a:pt x="1440" y="1360"/>
                  </a:cubicBezTo>
                  <a:cubicBezTo>
                    <a:pt x="1440" y="1758"/>
                    <a:pt x="1118" y="2080"/>
                    <a:pt x="720" y="2080"/>
                  </a:cubicBezTo>
                  <a:cubicBezTo>
                    <a:pt x="322" y="2080"/>
                    <a:pt x="0" y="1758"/>
                    <a:pt x="0" y="1360"/>
                  </a:cubicBezTo>
                  <a:cubicBezTo>
                    <a:pt x="0" y="1096"/>
                    <a:pt x="165" y="853"/>
                    <a:pt x="372" y="549"/>
                  </a:cubicBezTo>
                  <a:cubicBezTo>
                    <a:pt x="472" y="404"/>
                    <a:pt x="580" y="244"/>
                    <a:pt x="685" y="60"/>
                  </a:cubicBezTo>
                  <a:cubicBezTo>
                    <a:pt x="720" y="0"/>
                    <a:pt x="720" y="0"/>
                    <a:pt x="720" y="0"/>
                  </a:cubicBezTo>
                  <a:lnTo>
                    <a:pt x="755" y="60"/>
                  </a:lnTo>
                  <a:close/>
                  <a:moveTo>
                    <a:pt x="1200" y="1360"/>
                  </a:moveTo>
                  <a:cubicBezTo>
                    <a:pt x="1120" y="1360"/>
                    <a:pt x="1120" y="1360"/>
                    <a:pt x="1120" y="1360"/>
                  </a:cubicBezTo>
                  <a:cubicBezTo>
                    <a:pt x="1120" y="1581"/>
                    <a:pt x="941" y="1760"/>
                    <a:pt x="720" y="1760"/>
                  </a:cubicBezTo>
                  <a:cubicBezTo>
                    <a:pt x="720" y="1840"/>
                    <a:pt x="720" y="1840"/>
                    <a:pt x="720" y="1840"/>
                  </a:cubicBezTo>
                  <a:cubicBezTo>
                    <a:pt x="985" y="1840"/>
                    <a:pt x="1200" y="1625"/>
                    <a:pt x="1200" y="1360"/>
                  </a:cubicBezTo>
                  <a:close/>
                </a:path>
              </a:pathLst>
            </a:custGeom>
            <a:noFill/>
            <a:ln w="9525">
              <a:noFill/>
              <a:round/>
              <a:headEnd/>
              <a:tailEnd/>
            </a:ln>
            <a:effectLst/>
          </p:spPr>
          <p:txBody>
            <a:bodyPr wrap="none" anchor="ctr">
              <a:prstTxWarp prst="textNoShape">
                <a:avLst/>
              </a:prstTxWarp>
            </a:bodyPr>
            <a:lstStyle/>
            <a:p>
              <a:endParaRPr lang="de-CH"/>
            </a:p>
          </p:txBody>
        </p:sp>
      </p:grpSp>
      <p:grpSp>
        <p:nvGrpSpPr>
          <p:cNvPr id="11287" name="Group 23"/>
          <p:cNvGrpSpPr>
            <a:grpSpLocks/>
          </p:cNvGrpSpPr>
          <p:nvPr/>
        </p:nvGrpSpPr>
        <p:grpSpPr bwMode="auto">
          <a:xfrm>
            <a:off x="7073900" y="3622675"/>
            <a:ext cx="1446213" cy="701675"/>
            <a:chOff x="4456" y="2282"/>
            <a:chExt cx="911" cy="442"/>
          </a:xfrm>
        </p:grpSpPr>
        <p:grpSp>
          <p:nvGrpSpPr>
            <p:cNvPr id="11288" name="Group 24"/>
            <p:cNvGrpSpPr>
              <a:grpSpLocks/>
            </p:cNvGrpSpPr>
            <p:nvPr/>
          </p:nvGrpSpPr>
          <p:grpSpPr bwMode="auto">
            <a:xfrm>
              <a:off x="4740" y="2282"/>
              <a:ext cx="421" cy="329"/>
              <a:chOff x="4740" y="2282"/>
              <a:chExt cx="421" cy="329"/>
            </a:xfrm>
          </p:grpSpPr>
        </p:grpSp>
        <p:sp>
          <p:nvSpPr>
            <p:cNvPr id="11291" name="Rectangle 27"/>
            <p:cNvSpPr>
              <a:spLocks noChangeArrowheads="1"/>
            </p:cNvSpPr>
            <p:nvPr/>
          </p:nvSpPr>
          <p:spPr bwMode="auto">
            <a:xfrm>
              <a:off x="4456" y="2456"/>
              <a:ext cx="911" cy="268"/>
            </a:xfrm>
            <a:prstGeom prst="rect">
              <a:avLst/>
            </a:prstGeom>
            <a:noFill/>
            <a:ln w="9525">
              <a:noFill/>
              <a:round/>
              <a:headEnd/>
              <a:tailEnd/>
            </a:ln>
            <a:effectLst/>
          </p:spPr>
          <p:txBody>
            <a:bodyPr lIns="0" tIns="0" rIns="0" bIns="0">
              <a:prstTxWarp prst="textNoShape">
                <a:avLst/>
              </a:prstTxWarp>
              <a:spAutoFit/>
            </a:bodyPr>
            <a:lstStyle/>
            <a:p>
              <a:pPr algn="ctr">
                <a:lnSpc>
                  <a:spcPct val="100000"/>
                </a:lnSpc>
                <a:spcBef>
                  <a:spcPts val="300"/>
                </a:spcBef>
                <a:tabLst>
                  <a:tab pos="723900" algn="l"/>
                  <a:tab pos="1447800" algn="l"/>
                </a:tabLst>
              </a:pPr>
              <a:r>
                <a:rPr lang="de-DE" sz="1400" b="1" dirty="0">
                  <a:solidFill>
                    <a:srgbClr val="FFFFFF"/>
                  </a:solidFill>
                  <a:ea typeface="Arial Unicode MS" charset="0"/>
                  <a:cs typeface="Arial Unicode MS" charset="0"/>
                </a:rPr>
                <a:t>Erneuerbare</a:t>
              </a:r>
              <a:br>
                <a:rPr lang="de-DE" sz="1400" b="1" dirty="0">
                  <a:solidFill>
                    <a:srgbClr val="FFFFFF"/>
                  </a:solidFill>
                  <a:ea typeface="Arial Unicode MS" charset="0"/>
                  <a:cs typeface="Arial Unicode MS" charset="0"/>
                </a:rPr>
              </a:br>
              <a:r>
                <a:rPr lang="de-DE" sz="1400" b="1" dirty="0">
                  <a:solidFill>
                    <a:srgbClr val="FFFFFF"/>
                  </a:solidFill>
                  <a:ea typeface="Arial Unicode MS" charset="0"/>
                  <a:cs typeface="Arial Unicode MS" charset="0"/>
                </a:rPr>
                <a:t>Energien</a:t>
              </a:r>
            </a:p>
          </p:txBody>
        </p:sp>
      </p:grpSp>
      <p:sp>
        <p:nvSpPr>
          <p:cNvPr id="28" name="Freeform 5"/>
          <p:cNvSpPr>
            <a:spLocks/>
          </p:cNvSpPr>
          <p:nvPr>
            <p:custDataLst>
              <p:tags r:id="rId1"/>
            </p:custDataLst>
          </p:nvPr>
        </p:nvSpPr>
        <p:spPr bwMode="gray">
          <a:xfrm>
            <a:off x="88256" y="987574"/>
            <a:ext cx="6585048" cy="3287070"/>
          </a:xfrm>
          <a:custGeom>
            <a:avLst/>
            <a:gdLst>
              <a:gd name="connsiteX0" fmla="*/ 6924 w 10000"/>
              <a:gd name="connsiteY0" fmla="*/ 4615 h 10000"/>
              <a:gd name="connsiteX1" fmla="*/ 10000 w 10000"/>
              <a:gd name="connsiteY1" fmla="*/ 5585 h 10000"/>
              <a:gd name="connsiteX2" fmla="*/ 9587 w 10000"/>
              <a:gd name="connsiteY2" fmla="*/ 10000 h 10000"/>
              <a:gd name="connsiteX3" fmla="*/ 8774 w 10000"/>
              <a:gd name="connsiteY3" fmla="*/ 8462 h 10000"/>
              <a:gd name="connsiteX4" fmla="*/ 8351 w 10000"/>
              <a:gd name="connsiteY4" fmla="*/ 8699 h 10000"/>
              <a:gd name="connsiteX5" fmla="*/ 6572 w 10000"/>
              <a:gd name="connsiteY5" fmla="*/ 9256 h 10000"/>
              <a:gd name="connsiteX6" fmla="*/ 4152 w 10000"/>
              <a:gd name="connsiteY6" fmla="*/ 9047 h 10000"/>
              <a:gd name="connsiteX7" fmla="*/ 1753 w 10000"/>
              <a:gd name="connsiteY7" fmla="*/ 7699 h 10000"/>
              <a:gd name="connsiteX8" fmla="*/ 358 w 10000"/>
              <a:gd name="connsiteY8" fmla="*/ 5840 h 10000"/>
              <a:gd name="connsiteX9" fmla="*/ 78 w 10000"/>
              <a:gd name="connsiteY9" fmla="*/ 3854 h 10000"/>
              <a:gd name="connsiteX10" fmla="*/ 836 w 10000"/>
              <a:gd name="connsiteY10" fmla="*/ 2169 h 10000"/>
              <a:gd name="connsiteX11" fmla="*/ 2226 w 10000"/>
              <a:gd name="connsiteY11" fmla="*/ 1030 h 10000"/>
              <a:gd name="connsiteX12" fmla="*/ 3935 w 10000"/>
              <a:gd name="connsiteY12" fmla="*/ 225 h 10000"/>
              <a:gd name="connsiteX13" fmla="*/ 4560 w 10000"/>
              <a:gd name="connsiteY13" fmla="*/ 0 h 10000"/>
              <a:gd name="connsiteX14" fmla="*/ 4701 w 10000"/>
              <a:gd name="connsiteY14" fmla="*/ 74 h 10000"/>
              <a:gd name="connsiteX15" fmla="*/ 3883 w 10000"/>
              <a:gd name="connsiteY15" fmla="*/ 426 h 10000"/>
              <a:gd name="connsiteX16" fmla="*/ 2514 w 10000"/>
              <a:gd name="connsiteY16" fmla="*/ 1239 h 10000"/>
              <a:gd name="connsiteX17" fmla="*/ 1675 w 10000"/>
              <a:gd name="connsiteY17" fmla="*/ 2192 h 10000"/>
              <a:gd name="connsiteX18" fmla="*/ 1291 w 10000"/>
              <a:gd name="connsiteY18" fmla="*/ 3308 h 10000"/>
              <a:gd name="connsiteX19" fmla="*/ 1484 w 10000"/>
              <a:gd name="connsiteY19" fmla="*/ 4562 h 10000"/>
              <a:gd name="connsiteX20" fmla="*/ 2550 w 10000"/>
              <a:gd name="connsiteY20" fmla="*/ 5666 h 10000"/>
              <a:gd name="connsiteX21" fmla="*/ 4071 w 10000"/>
              <a:gd name="connsiteY21" fmla="*/ 6301 h 10000"/>
              <a:gd name="connsiteX22" fmla="*/ 5777 w 10000"/>
              <a:gd name="connsiteY22" fmla="*/ 6514 h 10000"/>
              <a:gd name="connsiteX23" fmla="*/ 7073 w 10000"/>
              <a:gd name="connsiteY23" fmla="*/ 6166 h 10000"/>
              <a:gd name="connsiteX24" fmla="*/ 7366 w 10000"/>
              <a:gd name="connsiteY24" fmla="*/ 5933 h 10000"/>
              <a:gd name="connsiteX25" fmla="*/ 6924 w 10000"/>
              <a:gd name="connsiteY25" fmla="*/ 4615 h 10000"/>
              <a:gd name="connsiteX0" fmla="*/ 6924 w 10000"/>
              <a:gd name="connsiteY0" fmla="*/ 4615 h 9615"/>
              <a:gd name="connsiteX1" fmla="*/ 10000 w 10000"/>
              <a:gd name="connsiteY1" fmla="*/ 5585 h 9615"/>
              <a:gd name="connsiteX2" fmla="*/ 9451 w 10000"/>
              <a:gd name="connsiteY2" fmla="*/ 9615 h 9615"/>
              <a:gd name="connsiteX3" fmla="*/ 8774 w 10000"/>
              <a:gd name="connsiteY3" fmla="*/ 8462 h 9615"/>
              <a:gd name="connsiteX4" fmla="*/ 8351 w 10000"/>
              <a:gd name="connsiteY4" fmla="*/ 8699 h 9615"/>
              <a:gd name="connsiteX5" fmla="*/ 6572 w 10000"/>
              <a:gd name="connsiteY5" fmla="*/ 9256 h 9615"/>
              <a:gd name="connsiteX6" fmla="*/ 4152 w 10000"/>
              <a:gd name="connsiteY6" fmla="*/ 9047 h 9615"/>
              <a:gd name="connsiteX7" fmla="*/ 1753 w 10000"/>
              <a:gd name="connsiteY7" fmla="*/ 7699 h 9615"/>
              <a:gd name="connsiteX8" fmla="*/ 358 w 10000"/>
              <a:gd name="connsiteY8" fmla="*/ 5840 h 9615"/>
              <a:gd name="connsiteX9" fmla="*/ 78 w 10000"/>
              <a:gd name="connsiteY9" fmla="*/ 3854 h 9615"/>
              <a:gd name="connsiteX10" fmla="*/ 836 w 10000"/>
              <a:gd name="connsiteY10" fmla="*/ 2169 h 9615"/>
              <a:gd name="connsiteX11" fmla="*/ 2226 w 10000"/>
              <a:gd name="connsiteY11" fmla="*/ 1030 h 9615"/>
              <a:gd name="connsiteX12" fmla="*/ 3935 w 10000"/>
              <a:gd name="connsiteY12" fmla="*/ 225 h 9615"/>
              <a:gd name="connsiteX13" fmla="*/ 4560 w 10000"/>
              <a:gd name="connsiteY13" fmla="*/ 0 h 9615"/>
              <a:gd name="connsiteX14" fmla="*/ 4701 w 10000"/>
              <a:gd name="connsiteY14" fmla="*/ 74 h 9615"/>
              <a:gd name="connsiteX15" fmla="*/ 3883 w 10000"/>
              <a:gd name="connsiteY15" fmla="*/ 426 h 9615"/>
              <a:gd name="connsiteX16" fmla="*/ 2514 w 10000"/>
              <a:gd name="connsiteY16" fmla="*/ 1239 h 9615"/>
              <a:gd name="connsiteX17" fmla="*/ 1675 w 10000"/>
              <a:gd name="connsiteY17" fmla="*/ 2192 h 9615"/>
              <a:gd name="connsiteX18" fmla="*/ 1291 w 10000"/>
              <a:gd name="connsiteY18" fmla="*/ 3308 h 9615"/>
              <a:gd name="connsiteX19" fmla="*/ 1484 w 10000"/>
              <a:gd name="connsiteY19" fmla="*/ 4562 h 9615"/>
              <a:gd name="connsiteX20" fmla="*/ 2550 w 10000"/>
              <a:gd name="connsiteY20" fmla="*/ 5666 h 9615"/>
              <a:gd name="connsiteX21" fmla="*/ 4071 w 10000"/>
              <a:gd name="connsiteY21" fmla="*/ 6301 h 9615"/>
              <a:gd name="connsiteX22" fmla="*/ 5777 w 10000"/>
              <a:gd name="connsiteY22" fmla="*/ 6514 h 9615"/>
              <a:gd name="connsiteX23" fmla="*/ 7073 w 10000"/>
              <a:gd name="connsiteY23" fmla="*/ 6166 h 9615"/>
              <a:gd name="connsiteX24" fmla="*/ 7366 w 10000"/>
              <a:gd name="connsiteY24" fmla="*/ 5933 h 9615"/>
              <a:gd name="connsiteX25" fmla="*/ 6924 w 10000"/>
              <a:gd name="connsiteY25" fmla="*/ 4615 h 9615"/>
              <a:gd name="connsiteX0" fmla="*/ 6924 w 10000"/>
              <a:gd name="connsiteY0" fmla="*/ 4800 h 10400"/>
              <a:gd name="connsiteX1" fmla="*/ 10000 w 10000"/>
              <a:gd name="connsiteY1" fmla="*/ 5809 h 10400"/>
              <a:gd name="connsiteX2" fmla="*/ 9561 w 10000"/>
              <a:gd name="connsiteY2" fmla="*/ 10400 h 10400"/>
              <a:gd name="connsiteX3" fmla="*/ 8774 w 10000"/>
              <a:gd name="connsiteY3" fmla="*/ 8801 h 10400"/>
              <a:gd name="connsiteX4" fmla="*/ 8351 w 10000"/>
              <a:gd name="connsiteY4" fmla="*/ 9047 h 10400"/>
              <a:gd name="connsiteX5" fmla="*/ 6572 w 10000"/>
              <a:gd name="connsiteY5" fmla="*/ 9627 h 10400"/>
              <a:gd name="connsiteX6" fmla="*/ 4152 w 10000"/>
              <a:gd name="connsiteY6" fmla="*/ 9409 h 10400"/>
              <a:gd name="connsiteX7" fmla="*/ 1753 w 10000"/>
              <a:gd name="connsiteY7" fmla="*/ 8007 h 10400"/>
              <a:gd name="connsiteX8" fmla="*/ 358 w 10000"/>
              <a:gd name="connsiteY8" fmla="*/ 6074 h 10400"/>
              <a:gd name="connsiteX9" fmla="*/ 78 w 10000"/>
              <a:gd name="connsiteY9" fmla="*/ 4008 h 10400"/>
              <a:gd name="connsiteX10" fmla="*/ 836 w 10000"/>
              <a:gd name="connsiteY10" fmla="*/ 2256 h 10400"/>
              <a:gd name="connsiteX11" fmla="*/ 2226 w 10000"/>
              <a:gd name="connsiteY11" fmla="*/ 1071 h 10400"/>
              <a:gd name="connsiteX12" fmla="*/ 3935 w 10000"/>
              <a:gd name="connsiteY12" fmla="*/ 234 h 10400"/>
              <a:gd name="connsiteX13" fmla="*/ 4560 w 10000"/>
              <a:gd name="connsiteY13" fmla="*/ 0 h 10400"/>
              <a:gd name="connsiteX14" fmla="*/ 4701 w 10000"/>
              <a:gd name="connsiteY14" fmla="*/ 77 h 10400"/>
              <a:gd name="connsiteX15" fmla="*/ 3883 w 10000"/>
              <a:gd name="connsiteY15" fmla="*/ 443 h 10400"/>
              <a:gd name="connsiteX16" fmla="*/ 2514 w 10000"/>
              <a:gd name="connsiteY16" fmla="*/ 1289 h 10400"/>
              <a:gd name="connsiteX17" fmla="*/ 1675 w 10000"/>
              <a:gd name="connsiteY17" fmla="*/ 2280 h 10400"/>
              <a:gd name="connsiteX18" fmla="*/ 1291 w 10000"/>
              <a:gd name="connsiteY18" fmla="*/ 3440 h 10400"/>
              <a:gd name="connsiteX19" fmla="*/ 1484 w 10000"/>
              <a:gd name="connsiteY19" fmla="*/ 4745 h 10400"/>
              <a:gd name="connsiteX20" fmla="*/ 2550 w 10000"/>
              <a:gd name="connsiteY20" fmla="*/ 5893 h 10400"/>
              <a:gd name="connsiteX21" fmla="*/ 4071 w 10000"/>
              <a:gd name="connsiteY21" fmla="*/ 6553 h 10400"/>
              <a:gd name="connsiteX22" fmla="*/ 5777 w 10000"/>
              <a:gd name="connsiteY22" fmla="*/ 6775 h 10400"/>
              <a:gd name="connsiteX23" fmla="*/ 7073 w 10000"/>
              <a:gd name="connsiteY23" fmla="*/ 6413 h 10400"/>
              <a:gd name="connsiteX24" fmla="*/ 7366 w 10000"/>
              <a:gd name="connsiteY24" fmla="*/ 6171 h 10400"/>
              <a:gd name="connsiteX25" fmla="*/ 6924 w 10000"/>
              <a:gd name="connsiteY25" fmla="*/ 4800 h 10400"/>
              <a:gd name="connsiteX0" fmla="*/ 6924 w 10000"/>
              <a:gd name="connsiteY0" fmla="*/ 4800 h 10200"/>
              <a:gd name="connsiteX1" fmla="*/ 10000 w 10000"/>
              <a:gd name="connsiteY1" fmla="*/ 5809 h 10200"/>
              <a:gd name="connsiteX2" fmla="*/ 9561 w 10000"/>
              <a:gd name="connsiteY2" fmla="*/ 10200 h 10200"/>
              <a:gd name="connsiteX3" fmla="*/ 8774 w 10000"/>
              <a:gd name="connsiteY3" fmla="*/ 8801 h 10200"/>
              <a:gd name="connsiteX4" fmla="*/ 8351 w 10000"/>
              <a:gd name="connsiteY4" fmla="*/ 9047 h 10200"/>
              <a:gd name="connsiteX5" fmla="*/ 6572 w 10000"/>
              <a:gd name="connsiteY5" fmla="*/ 9627 h 10200"/>
              <a:gd name="connsiteX6" fmla="*/ 4152 w 10000"/>
              <a:gd name="connsiteY6" fmla="*/ 9409 h 10200"/>
              <a:gd name="connsiteX7" fmla="*/ 1753 w 10000"/>
              <a:gd name="connsiteY7" fmla="*/ 8007 h 10200"/>
              <a:gd name="connsiteX8" fmla="*/ 358 w 10000"/>
              <a:gd name="connsiteY8" fmla="*/ 6074 h 10200"/>
              <a:gd name="connsiteX9" fmla="*/ 78 w 10000"/>
              <a:gd name="connsiteY9" fmla="*/ 4008 h 10200"/>
              <a:gd name="connsiteX10" fmla="*/ 836 w 10000"/>
              <a:gd name="connsiteY10" fmla="*/ 2256 h 10200"/>
              <a:gd name="connsiteX11" fmla="*/ 2226 w 10000"/>
              <a:gd name="connsiteY11" fmla="*/ 1071 h 10200"/>
              <a:gd name="connsiteX12" fmla="*/ 3935 w 10000"/>
              <a:gd name="connsiteY12" fmla="*/ 234 h 10200"/>
              <a:gd name="connsiteX13" fmla="*/ 4560 w 10000"/>
              <a:gd name="connsiteY13" fmla="*/ 0 h 10200"/>
              <a:gd name="connsiteX14" fmla="*/ 4701 w 10000"/>
              <a:gd name="connsiteY14" fmla="*/ 77 h 10200"/>
              <a:gd name="connsiteX15" fmla="*/ 3883 w 10000"/>
              <a:gd name="connsiteY15" fmla="*/ 443 h 10200"/>
              <a:gd name="connsiteX16" fmla="*/ 2514 w 10000"/>
              <a:gd name="connsiteY16" fmla="*/ 1289 h 10200"/>
              <a:gd name="connsiteX17" fmla="*/ 1675 w 10000"/>
              <a:gd name="connsiteY17" fmla="*/ 2280 h 10200"/>
              <a:gd name="connsiteX18" fmla="*/ 1291 w 10000"/>
              <a:gd name="connsiteY18" fmla="*/ 3440 h 10200"/>
              <a:gd name="connsiteX19" fmla="*/ 1484 w 10000"/>
              <a:gd name="connsiteY19" fmla="*/ 4745 h 10200"/>
              <a:gd name="connsiteX20" fmla="*/ 2550 w 10000"/>
              <a:gd name="connsiteY20" fmla="*/ 5893 h 10200"/>
              <a:gd name="connsiteX21" fmla="*/ 4071 w 10000"/>
              <a:gd name="connsiteY21" fmla="*/ 6553 h 10200"/>
              <a:gd name="connsiteX22" fmla="*/ 5777 w 10000"/>
              <a:gd name="connsiteY22" fmla="*/ 6775 h 10200"/>
              <a:gd name="connsiteX23" fmla="*/ 7073 w 10000"/>
              <a:gd name="connsiteY23" fmla="*/ 6413 h 10200"/>
              <a:gd name="connsiteX24" fmla="*/ 7366 w 10000"/>
              <a:gd name="connsiteY24" fmla="*/ 6171 h 10200"/>
              <a:gd name="connsiteX25" fmla="*/ 6924 w 10000"/>
              <a:gd name="connsiteY25" fmla="*/ 4800 h 10200"/>
              <a:gd name="connsiteX0" fmla="*/ 6924 w 10000"/>
              <a:gd name="connsiteY0" fmla="*/ 4800 h 10222"/>
              <a:gd name="connsiteX1" fmla="*/ 10000 w 10000"/>
              <a:gd name="connsiteY1" fmla="*/ 5809 h 10222"/>
              <a:gd name="connsiteX2" fmla="*/ 9451 w 10000"/>
              <a:gd name="connsiteY2" fmla="*/ 10222 h 10222"/>
              <a:gd name="connsiteX3" fmla="*/ 8774 w 10000"/>
              <a:gd name="connsiteY3" fmla="*/ 8801 h 10222"/>
              <a:gd name="connsiteX4" fmla="*/ 8351 w 10000"/>
              <a:gd name="connsiteY4" fmla="*/ 9047 h 10222"/>
              <a:gd name="connsiteX5" fmla="*/ 6572 w 10000"/>
              <a:gd name="connsiteY5" fmla="*/ 9627 h 10222"/>
              <a:gd name="connsiteX6" fmla="*/ 4152 w 10000"/>
              <a:gd name="connsiteY6" fmla="*/ 9409 h 10222"/>
              <a:gd name="connsiteX7" fmla="*/ 1753 w 10000"/>
              <a:gd name="connsiteY7" fmla="*/ 8007 h 10222"/>
              <a:gd name="connsiteX8" fmla="*/ 358 w 10000"/>
              <a:gd name="connsiteY8" fmla="*/ 6074 h 10222"/>
              <a:gd name="connsiteX9" fmla="*/ 78 w 10000"/>
              <a:gd name="connsiteY9" fmla="*/ 4008 h 10222"/>
              <a:gd name="connsiteX10" fmla="*/ 836 w 10000"/>
              <a:gd name="connsiteY10" fmla="*/ 2256 h 10222"/>
              <a:gd name="connsiteX11" fmla="*/ 2226 w 10000"/>
              <a:gd name="connsiteY11" fmla="*/ 1071 h 10222"/>
              <a:gd name="connsiteX12" fmla="*/ 3935 w 10000"/>
              <a:gd name="connsiteY12" fmla="*/ 234 h 10222"/>
              <a:gd name="connsiteX13" fmla="*/ 4560 w 10000"/>
              <a:gd name="connsiteY13" fmla="*/ 0 h 10222"/>
              <a:gd name="connsiteX14" fmla="*/ 4701 w 10000"/>
              <a:gd name="connsiteY14" fmla="*/ 77 h 10222"/>
              <a:gd name="connsiteX15" fmla="*/ 3883 w 10000"/>
              <a:gd name="connsiteY15" fmla="*/ 443 h 10222"/>
              <a:gd name="connsiteX16" fmla="*/ 2514 w 10000"/>
              <a:gd name="connsiteY16" fmla="*/ 1289 h 10222"/>
              <a:gd name="connsiteX17" fmla="*/ 1675 w 10000"/>
              <a:gd name="connsiteY17" fmla="*/ 2280 h 10222"/>
              <a:gd name="connsiteX18" fmla="*/ 1291 w 10000"/>
              <a:gd name="connsiteY18" fmla="*/ 3440 h 10222"/>
              <a:gd name="connsiteX19" fmla="*/ 1484 w 10000"/>
              <a:gd name="connsiteY19" fmla="*/ 4745 h 10222"/>
              <a:gd name="connsiteX20" fmla="*/ 2550 w 10000"/>
              <a:gd name="connsiteY20" fmla="*/ 5893 h 10222"/>
              <a:gd name="connsiteX21" fmla="*/ 4071 w 10000"/>
              <a:gd name="connsiteY21" fmla="*/ 6553 h 10222"/>
              <a:gd name="connsiteX22" fmla="*/ 5777 w 10000"/>
              <a:gd name="connsiteY22" fmla="*/ 6775 h 10222"/>
              <a:gd name="connsiteX23" fmla="*/ 7073 w 10000"/>
              <a:gd name="connsiteY23" fmla="*/ 6413 h 10222"/>
              <a:gd name="connsiteX24" fmla="*/ 7366 w 10000"/>
              <a:gd name="connsiteY24" fmla="*/ 6171 h 10222"/>
              <a:gd name="connsiteX25" fmla="*/ 6924 w 10000"/>
              <a:gd name="connsiteY25" fmla="*/ 4800 h 10222"/>
              <a:gd name="connsiteX0" fmla="*/ 6924 w 9891"/>
              <a:gd name="connsiteY0" fmla="*/ 4800 h 10222"/>
              <a:gd name="connsiteX1" fmla="*/ 9891 w 9891"/>
              <a:gd name="connsiteY1" fmla="*/ 5700 h 10222"/>
              <a:gd name="connsiteX2" fmla="*/ 9451 w 9891"/>
              <a:gd name="connsiteY2" fmla="*/ 10222 h 10222"/>
              <a:gd name="connsiteX3" fmla="*/ 8774 w 9891"/>
              <a:gd name="connsiteY3" fmla="*/ 8801 h 10222"/>
              <a:gd name="connsiteX4" fmla="*/ 8351 w 9891"/>
              <a:gd name="connsiteY4" fmla="*/ 9047 h 10222"/>
              <a:gd name="connsiteX5" fmla="*/ 6572 w 9891"/>
              <a:gd name="connsiteY5" fmla="*/ 9627 h 10222"/>
              <a:gd name="connsiteX6" fmla="*/ 4152 w 9891"/>
              <a:gd name="connsiteY6" fmla="*/ 9409 h 10222"/>
              <a:gd name="connsiteX7" fmla="*/ 1753 w 9891"/>
              <a:gd name="connsiteY7" fmla="*/ 8007 h 10222"/>
              <a:gd name="connsiteX8" fmla="*/ 358 w 9891"/>
              <a:gd name="connsiteY8" fmla="*/ 6074 h 10222"/>
              <a:gd name="connsiteX9" fmla="*/ 78 w 9891"/>
              <a:gd name="connsiteY9" fmla="*/ 4008 h 10222"/>
              <a:gd name="connsiteX10" fmla="*/ 836 w 9891"/>
              <a:gd name="connsiteY10" fmla="*/ 2256 h 10222"/>
              <a:gd name="connsiteX11" fmla="*/ 2226 w 9891"/>
              <a:gd name="connsiteY11" fmla="*/ 1071 h 10222"/>
              <a:gd name="connsiteX12" fmla="*/ 3935 w 9891"/>
              <a:gd name="connsiteY12" fmla="*/ 234 h 10222"/>
              <a:gd name="connsiteX13" fmla="*/ 4560 w 9891"/>
              <a:gd name="connsiteY13" fmla="*/ 0 h 10222"/>
              <a:gd name="connsiteX14" fmla="*/ 4701 w 9891"/>
              <a:gd name="connsiteY14" fmla="*/ 77 h 10222"/>
              <a:gd name="connsiteX15" fmla="*/ 3883 w 9891"/>
              <a:gd name="connsiteY15" fmla="*/ 443 h 10222"/>
              <a:gd name="connsiteX16" fmla="*/ 2514 w 9891"/>
              <a:gd name="connsiteY16" fmla="*/ 1289 h 10222"/>
              <a:gd name="connsiteX17" fmla="*/ 1675 w 9891"/>
              <a:gd name="connsiteY17" fmla="*/ 2280 h 10222"/>
              <a:gd name="connsiteX18" fmla="*/ 1291 w 9891"/>
              <a:gd name="connsiteY18" fmla="*/ 3440 h 10222"/>
              <a:gd name="connsiteX19" fmla="*/ 1484 w 9891"/>
              <a:gd name="connsiteY19" fmla="*/ 4745 h 10222"/>
              <a:gd name="connsiteX20" fmla="*/ 2550 w 9891"/>
              <a:gd name="connsiteY20" fmla="*/ 5893 h 10222"/>
              <a:gd name="connsiteX21" fmla="*/ 4071 w 9891"/>
              <a:gd name="connsiteY21" fmla="*/ 6553 h 10222"/>
              <a:gd name="connsiteX22" fmla="*/ 5777 w 9891"/>
              <a:gd name="connsiteY22" fmla="*/ 6775 h 10222"/>
              <a:gd name="connsiteX23" fmla="*/ 7073 w 9891"/>
              <a:gd name="connsiteY23" fmla="*/ 6413 h 10222"/>
              <a:gd name="connsiteX24" fmla="*/ 7366 w 9891"/>
              <a:gd name="connsiteY24" fmla="*/ 6171 h 10222"/>
              <a:gd name="connsiteX25" fmla="*/ 6924 w 9891"/>
              <a:gd name="connsiteY25" fmla="*/ 4800 h 1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91" h="10222">
                <a:moveTo>
                  <a:pt x="6924" y="4800"/>
                </a:moveTo>
                <a:lnTo>
                  <a:pt x="9891" y="5700"/>
                </a:lnTo>
                <a:cubicBezTo>
                  <a:pt x="9753" y="7231"/>
                  <a:pt x="9589" y="8691"/>
                  <a:pt x="9451" y="10222"/>
                </a:cubicBezTo>
                <a:lnTo>
                  <a:pt x="8774" y="8801"/>
                </a:lnTo>
                <a:lnTo>
                  <a:pt x="8351" y="9047"/>
                </a:lnTo>
                <a:cubicBezTo>
                  <a:pt x="7985" y="9184"/>
                  <a:pt x="7272" y="9566"/>
                  <a:pt x="6572" y="9627"/>
                </a:cubicBezTo>
                <a:cubicBezTo>
                  <a:pt x="5871" y="9687"/>
                  <a:pt x="4954" y="9680"/>
                  <a:pt x="4152" y="9409"/>
                </a:cubicBezTo>
                <a:cubicBezTo>
                  <a:pt x="3350" y="9140"/>
                  <a:pt x="2386" y="8564"/>
                  <a:pt x="1753" y="8007"/>
                </a:cubicBezTo>
                <a:cubicBezTo>
                  <a:pt x="1121" y="7452"/>
                  <a:pt x="638" y="6738"/>
                  <a:pt x="358" y="6074"/>
                </a:cubicBezTo>
                <a:cubicBezTo>
                  <a:pt x="78" y="5409"/>
                  <a:pt x="0" y="4645"/>
                  <a:pt x="78" y="4008"/>
                </a:cubicBezTo>
                <a:cubicBezTo>
                  <a:pt x="157" y="3372"/>
                  <a:pt x="478" y="2743"/>
                  <a:pt x="836" y="2256"/>
                </a:cubicBezTo>
                <a:cubicBezTo>
                  <a:pt x="1194" y="1768"/>
                  <a:pt x="1709" y="1410"/>
                  <a:pt x="2226" y="1071"/>
                </a:cubicBezTo>
                <a:cubicBezTo>
                  <a:pt x="2744" y="733"/>
                  <a:pt x="3546" y="411"/>
                  <a:pt x="3935" y="234"/>
                </a:cubicBezTo>
                <a:lnTo>
                  <a:pt x="4560" y="0"/>
                </a:lnTo>
                <a:lnTo>
                  <a:pt x="4701" y="77"/>
                </a:lnTo>
                <a:lnTo>
                  <a:pt x="3883" y="443"/>
                </a:lnTo>
                <a:cubicBezTo>
                  <a:pt x="3517" y="645"/>
                  <a:pt x="2880" y="983"/>
                  <a:pt x="2514" y="1289"/>
                </a:cubicBezTo>
                <a:cubicBezTo>
                  <a:pt x="2145" y="1595"/>
                  <a:pt x="1879" y="1921"/>
                  <a:pt x="1675" y="2280"/>
                </a:cubicBezTo>
                <a:cubicBezTo>
                  <a:pt x="1471" y="2639"/>
                  <a:pt x="1325" y="3029"/>
                  <a:pt x="1291" y="3440"/>
                </a:cubicBezTo>
                <a:cubicBezTo>
                  <a:pt x="1259" y="3851"/>
                  <a:pt x="1275" y="4338"/>
                  <a:pt x="1484" y="4745"/>
                </a:cubicBezTo>
                <a:cubicBezTo>
                  <a:pt x="1691" y="5152"/>
                  <a:pt x="2119" y="5591"/>
                  <a:pt x="2550" y="5893"/>
                </a:cubicBezTo>
                <a:cubicBezTo>
                  <a:pt x="2981" y="6196"/>
                  <a:pt x="3535" y="6409"/>
                  <a:pt x="4071" y="6553"/>
                </a:cubicBezTo>
                <a:cubicBezTo>
                  <a:pt x="4609" y="6699"/>
                  <a:pt x="5278" y="6800"/>
                  <a:pt x="5777" y="6775"/>
                </a:cubicBezTo>
                <a:cubicBezTo>
                  <a:pt x="6279" y="6751"/>
                  <a:pt x="6807" y="6514"/>
                  <a:pt x="7073" y="6413"/>
                </a:cubicBezTo>
                <a:lnTo>
                  <a:pt x="7366" y="6171"/>
                </a:lnTo>
                <a:lnTo>
                  <a:pt x="6924" y="4800"/>
                </a:lnTo>
                <a:close/>
              </a:path>
            </a:pathLst>
          </a:custGeom>
          <a:solidFill>
            <a:schemeClr val="bg2">
              <a:lumMod val="40000"/>
              <a:lumOff val="60000"/>
            </a:schemeClr>
          </a:solidFill>
          <a:ln>
            <a:noFill/>
          </a:ln>
          <a:effectLst/>
        </p:spPr>
        <p:txBody>
          <a:bodyPr lIns="90000" tIns="46800" rIns="90000" bIns="10800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Font typeface="Arial" pitchFamily="34" charset="0"/>
              <a:buNone/>
            </a:pPr>
            <a:endParaRPr lang="en-US" sz="1600" dirty="0">
              <a:solidFill>
                <a:schemeClr val="bg1"/>
              </a:solidFill>
              <a:latin typeface="Arial" pitchFamily="34" charset="0"/>
            </a:endParaRPr>
          </a:p>
        </p:txBody>
      </p:sp>
      <p:sp>
        <p:nvSpPr>
          <p:cNvPr id="11295" name="Oval 31"/>
          <p:cNvSpPr>
            <a:spLocks noChangeArrowheads="1"/>
          </p:cNvSpPr>
          <p:nvPr/>
        </p:nvSpPr>
        <p:spPr bwMode="auto">
          <a:xfrm>
            <a:off x="1377950" y="889000"/>
            <a:ext cx="1404938" cy="1233488"/>
          </a:xfrm>
          <a:prstGeom prst="ellipse">
            <a:avLst/>
          </a:prstGeom>
          <a:solidFill>
            <a:srgbClr val="264283"/>
          </a:solidFill>
          <a:ln w="9360">
            <a:solidFill>
              <a:srgbClr val="264283"/>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Lst>
            </a:pPr>
            <a:r>
              <a:rPr lang="de-DE" sz="1200" b="1" dirty="0">
                <a:solidFill>
                  <a:schemeClr val="bg1"/>
                </a:solidFill>
                <a:ea typeface="Arial Unicode MS" charset="0"/>
                <a:cs typeface="Arial Unicode MS" charset="0"/>
              </a:rPr>
              <a:t>Lustvolle Lösungen in lustloser Zeit</a:t>
            </a:r>
          </a:p>
        </p:txBody>
      </p:sp>
      <p:sp>
        <p:nvSpPr>
          <p:cNvPr id="11296" name="Rectangle 32"/>
          <p:cNvSpPr>
            <a:spLocks noChangeArrowheads="1"/>
          </p:cNvSpPr>
          <p:nvPr/>
        </p:nvSpPr>
        <p:spPr bwMode="auto">
          <a:xfrm>
            <a:off x="2901950" y="1027113"/>
            <a:ext cx="3789363" cy="928687"/>
          </a:xfrm>
          <a:prstGeom prst="rect">
            <a:avLst/>
          </a:prstGeom>
          <a:noFill/>
          <a:ln w="9360">
            <a:noFill/>
            <a:round/>
            <a:headEnd/>
            <a:tailEnd/>
          </a:ln>
          <a:effectLst/>
        </p:spPr>
        <p:txBody>
          <a:bodyPr lIns="0" tIns="82800" rIns="0" bIns="0">
            <a:prstTxWarp prst="textNoShape">
              <a:avLst/>
            </a:prstTxWarp>
          </a:bodyPr>
          <a:lstStyle/>
          <a:p>
            <a:pPr hangingPunct="1">
              <a:lnSpc>
                <a:spcPct val="100000"/>
              </a:lnSpc>
              <a:spcBef>
                <a:spcPts val="300"/>
              </a:spcBef>
              <a:tabLst>
                <a:tab pos="723900" algn="l"/>
                <a:tab pos="1447800" algn="l"/>
                <a:tab pos="2171700" algn="l"/>
                <a:tab pos="2895600" algn="l"/>
                <a:tab pos="3619500" algn="l"/>
              </a:tabLst>
            </a:pPr>
            <a:r>
              <a:rPr lang="de-DE" sz="1200" b="1">
                <a:solidFill>
                  <a:srgbClr val="264283"/>
                </a:solidFill>
                <a:ea typeface="Arial Unicode MS" charset="0"/>
                <a:cs typeface="Arial Unicode MS" charset="0"/>
              </a:rPr>
              <a:t>Erneuerbare Energien versuchen einen Weg zu finden für eine anders geartete Zukunft</a:t>
            </a:r>
            <a:r>
              <a:rPr lang="de-DE" sz="1200">
                <a:solidFill>
                  <a:srgbClr val="000000"/>
                </a:solidFill>
                <a:ea typeface="Arial Unicode MS" charset="0"/>
                <a:cs typeface="Arial Unicode MS" charset="0"/>
              </a:rPr>
              <a:t>. Erneuerbare Energien werden Teil der Lösung sein und dem Zuhörer eine Realität werdende Utopie vor Augen führen </a:t>
            </a:r>
          </a:p>
        </p:txBody>
      </p:sp>
      <p:sp>
        <p:nvSpPr>
          <p:cNvPr id="11294" name="Oval 30"/>
          <p:cNvSpPr>
            <a:spLocks noChangeArrowheads="1"/>
          </p:cNvSpPr>
          <p:nvPr/>
        </p:nvSpPr>
        <p:spPr bwMode="auto">
          <a:xfrm>
            <a:off x="204788" y="1966913"/>
            <a:ext cx="1727200" cy="1439862"/>
          </a:xfrm>
          <a:prstGeom prst="ellipse">
            <a:avLst/>
          </a:prstGeom>
          <a:solidFill>
            <a:srgbClr val="007DC3"/>
          </a:solidFill>
          <a:ln w="9360">
            <a:solidFill>
              <a:srgbClr val="007DC3"/>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 pos="1447800" algn="l"/>
              </a:tabLst>
            </a:pPr>
            <a:r>
              <a:rPr lang="de-DE" sz="1200" b="1" dirty="0">
                <a:solidFill>
                  <a:srgbClr val="FFFFFF"/>
                </a:solidFill>
                <a:ea typeface="Arial Unicode MS" charset="0"/>
                <a:cs typeface="Arial Unicode MS" charset="0"/>
              </a:rPr>
              <a:t>Nachhaltigkeit verlangt nach Umverteilung</a:t>
            </a:r>
          </a:p>
        </p:txBody>
      </p:sp>
      <p:sp>
        <p:nvSpPr>
          <p:cNvPr id="11297" name="Rectangle 33"/>
          <p:cNvSpPr>
            <a:spLocks noChangeArrowheads="1"/>
          </p:cNvSpPr>
          <p:nvPr/>
        </p:nvSpPr>
        <p:spPr bwMode="auto">
          <a:xfrm>
            <a:off x="1941513" y="2317750"/>
            <a:ext cx="2087562" cy="638175"/>
          </a:xfrm>
          <a:prstGeom prst="rect">
            <a:avLst/>
          </a:prstGeom>
          <a:noFill/>
          <a:ln w="9525">
            <a:noFill/>
            <a:round/>
            <a:headEnd/>
            <a:tailEnd/>
          </a:ln>
          <a:effectLst/>
        </p:spPr>
        <p:txBody>
          <a:bodyPr lIns="90000" tIns="45000" rIns="90000" bIns="45000">
            <a:prstTxWarp prst="textNoShape">
              <a:avLst/>
            </a:prstTxWarp>
            <a:spAutoFit/>
          </a:bodyPr>
          <a:lstStyle/>
          <a:p>
            <a:pPr hangingPunct="1">
              <a:lnSpc>
                <a:spcPct val="100000"/>
              </a:lnSpc>
              <a:tabLst>
                <a:tab pos="723900" algn="l"/>
                <a:tab pos="1447800" algn="l"/>
              </a:tabLst>
            </a:pPr>
            <a:r>
              <a:rPr lang="de-DE" sz="1200" b="1" dirty="0">
                <a:solidFill>
                  <a:srgbClr val="007DC3"/>
                </a:solidFill>
                <a:ea typeface="Arial Unicode MS" charset="0"/>
                <a:cs typeface="Arial Unicode MS" charset="0"/>
              </a:rPr>
              <a:t>Verteilungsgerechtigkeit</a:t>
            </a:r>
            <a:r>
              <a:rPr lang="de-DE" sz="1200" dirty="0">
                <a:solidFill>
                  <a:srgbClr val="000000"/>
                </a:solidFill>
                <a:ea typeface="Arial Unicode MS" charset="0"/>
                <a:cs typeface="Arial Unicode MS" charset="0"/>
              </a:rPr>
              <a:t> schafft Raum für Träume und Abenteuer. </a:t>
            </a:r>
          </a:p>
        </p:txBody>
      </p:sp>
      <p:sp>
        <p:nvSpPr>
          <p:cNvPr id="11300" name="Rectangle 36"/>
          <p:cNvSpPr>
            <a:spLocks noChangeArrowheads="1"/>
          </p:cNvSpPr>
          <p:nvPr/>
        </p:nvSpPr>
        <p:spPr bwMode="auto">
          <a:xfrm>
            <a:off x="4326300" y="2116138"/>
            <a:ext cx="4817700" cy="829543"/>
          </a:xfrm>
          <a:prstGeom prst="rect">
            <a:avLst/>
          </a:prstGeom>
          <a:noFill/>
          <a:ln w="9525">
            <a:noFill/>
            <a:round/>
            <a:headEnd/>
            <a:tailEnd/>
          </a:ln>
          <a:effectLst/>
        </p:spPr>
        <p:txBody>
          <a:bodyPr lIns="90000" tIns="45000" rIns="90000" bIns="45000">
            <a:prstTxWarp prst="textNoShape">
              <a:avLst/>
            </a:prstTxWarp>
            <a:spAutoFit/>
          </a:bodyPr>
          <a:lstStyle/>
          <a:p>
            <a:pPr hangingPunct="1">
              <a:lnSpc>
                <a:spcPct val="100000"/>
              </a:lnSpc>
              <a:tabLst>
                <a:tab pos="723900" algn="l"/>
                <a:tab pos="1447800" algn="l"/>
                <a:tab pos="2171700" algn="l"/>
                <a:tab pos="2895600" algn="l"/>
                <a:tab pos="3619500" algn="l"/>
                <a:tab pos="4343400" algn="l"/>
              </a:tabLst>
            </a:pPr>
            <a:r>
              <a:rPr lang="de-DE" sz="1200" b="1" dirty="0">
                <a:solidFill>
                  <a:srgbClr val="798200"/>
                </a:solidFill>
                <a:ea typeface="Arial Unicode MS" charset="0"/>
                <a:cs typeface="Arial Unicode MS" charset="0"/>
              </a:rPr>
              <a:t>Es braucht neue Ansätze und Rituale</a:t>
            </a:r>
            <a:r>
              <a:rPr lang="de-DE" sz="1200" dirty="0">
                <a:solidFill>
                  <a:srgbClr val="000000"/>
                </a:solidFill>
                <a:ea typeface="Arial Unicode MS" charset="0"/>
                <a:cs typeface="Arial Unicode MS" charset="0"/>
              </a:rPr>
              <a:t>.</a:t>
            </a:r>
            <a:r>
              <a:rPr lang="de-DE" sz="1200" dirty="0" smtClean="0">
                <a:solidFill>
                  <a:srgbClr val="000000"/>
                </a:solidFill>
                <a:ea typeface="Arial Unicode MS" charset="0"/>
                <a:cs typeface="Arial Unicode MS" charset="0"/>
              </a:rPr>
              <a:t> </a:t>
            </a:r>
            <a:r>
              <a:rPr lang="en-US" sz="1200" dirty="0" err="1" smtClean="0"/>
              <a:t>Ein</a:t>
            </a:r>
            <a:r>
              <a:rPr lang="en-US" sz="1200" dirty="0" smtClean="0"/>
              <a:t> </a:t>
            </a:r>
            <a:r>
              <a:rPr lang="en-US" sz="1200" dirty="0" err="1" smtClean="0"/>
              <a:t>verändertes</a:t>
            </a:r>
            <a:r>
              <a:rPr lang="en-US" sz="1200" dirty="0" smtClean="0"/>
              <a:t> </a:t>
            </a:r>
            <a:r>
              <a:rPr lang="en-US" sz="1200" dirty="0" err="1" smtClean="0"/>
              <a:t>Bewusstsein</a:t>
            </a:r>
            <a:r>
              <a:rPr lang="en-US" sz="1200" dirty="0" smtClean="0"/>
              <a:t> von </a:t>
            </a:r>
            <a:r>
              <a:rPr lang="en-US" sz="1200" dirty="0" err="1" smtClean="0"/>
              <a:t>Einzelnen</a:t>
            </a:r>
            <a:r>
              <a:rPr lang="en-US" sz="1200" dirty="0" smtClean="0"/>
              <a:t> und </a:t>
            </a:r>
            <a:r>
              <a:rPr lang="en-US" sz="1200" dirty="0" err="1" smtClean="0"/>
              <a:t>Kollektiv</a:t>
            </a:r>
            <a:r>
              <a:rPr lang="de-DE" sz="1200" dirty="0" smtClean="0">
                <a:solidFill>
                  <a:srgbClr val="000000"/>
                </a:solidFill>
                <a:ea typeface="Arial Unicode MS" charset="0"/>
                <a:cs typeface="Arial Unicode MS" charset="0"/>
              </a:rPr>
              <a:t>. </a:t>
            </a:r>
            <a:r>
              <a:rPr lang="de-DE" sz="1200" dirty="0" smtClean="0">
                <a:solidFill>
                  <a:srgbClr val="000000"/>
                </a:solidFill>
                <a:ea typeface="Arial Unicode MS" charset="0"/>
                <a:cs typeface="Arial Unicode MS" charset="0"/>
              </a:rPr>
              <a:t>Die Musik soll den </a:t>
            </a:r>
            <a:r>
              <a:rPr lang="de-DE" sz="1200" dirty="0">
                <a:solidFill>
                  <a:srgbClr val="000000"/>
                </a:solidFill>
                <a:ea typeface="Arial Unicode MS" charset="0"/>
                <a:cs typeface="Arial Unicode MS" charset="0"/>
              </a:rPr>
              <a:t>Hörer als selbstbewusstes</a:t>
            </a:r>
            <a:r>
              <a:rPr lang="de-DE" sz="1200" dirty="0" smtClean="0">
                <a:solidFill>
                  <a:srgbClr val="000000"/>
                </a:solidFill>
                <a:ea typeface="Arial Unicode MS" charset="0"/>
                <a:cs typeface="Arial Unicode MS" charset="0"/>
              </a:rPr>
              <a:t>, entscheidungsfreudiges </a:t>
            </a:r>
            <a:r>
              <a:rPr lang="de-DE" sz="1200" dirty="0" smtClean="0">
                <a:solidFill>
                  <a:srgbClr val="000000"/>
                </a:solidFill>
                <a:ea typeface="Arial Unicode MS" charset="0"/>
                <a:cs typeface="Arial Unicode MS" charset="0"/>
              </a:rPr>
              <a:t>Individuum entlassen </a:t>
            </a:r>
            <a:r>
              <a:rPr lang="de-DE" sz="1200" dirty="0" smtClean="0">
                <a:solidFill>
                  <a:srgbClr val="000000"/>
                </a:solidFill>
                <a:ea typeface="Arial Unicode MS" charset="0"/>
                <a:cs typeface="Arial Unicode MS" charset="0"/>
              </a:rPr>
              <a:t>- </a:t>
            </a:r>
            <a:r>
              <a:rPr lang="de-DE" sz="1200" dirty="0">
                <a:solidFill>
                  <a:srgbClr val="000000"/>
                </a:solidFill>
                <a:ea typeface="Arial Unicode MS" charset="0"/>
                <a:cs typeface="Arial Unicode MS" charset="0"/>
              </a:rPr>
              <a:t>bereit zum Mittun an einer neuen besseren </a:t>
            </a:r>
            <a:r>
              <a:rPr lang="de-DE" sz="1200" dirty="0" smtClean="0">
                <a:solidFill>
                  <a:srgbClr val="000000"/>
                </a:solidFill>
                <a:ea typeface="Arial Unicode MS" charset="0"/>
                <a:cs typeface="Arial Unicode MS" charset="0"/>
              </a:rPr>
              <a:t>Wirklichkeit</a:t>
            </a:r>
          </a:p>
        </p:txBody>
      </p:sp>
      <p:sp>
        <p:nvSpPr>
          <p:cNvPr id="11299" name="Oval 35"/>
          <p:cNvSpPr>
            <a:spLocks noChangeArrowheads="1"/>
          </p:cNvSpPr>
          <p:nvPr/>
        </p:nvSpPr>
        <p:spPr bwMode="auto">
          <a:xfrm>
            <a:off x="3816350" y="3146425"/>
            <a:ext cx="1800225" cy="1476375"/>
          </a:xfrm>
          <a:prstGeom prst="ellipse">
            <a:avLst/>
          </a:prstGeom>
          <a:solidFill>
            <a:srgbClr val="798200"/>
          </a:solidFill>
          <a:ln w="9360">
            <a:solidFill>
              <a:srgbClr val="A2AD00"/>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 pos="1447800" algn="l"/>
              </a:tabLst>
            </a:pPr>
            <a:r>
              <a:rPr lang="de-DE" sz="1600" b="1" dirty="0" err="1">
                <a:solidFill>
                  <a:srgbClr val="FFFFFF"/>
                </a:solidFill>
                <a:ea typeface="Arial Unicode MS" charset="0"/>
                <a:cs typeface="Arial Unicode MS" charset="0"/>
              </a:rPr>
              <a:t>Communal</a:t>
            </a:r>
            <a:r>
              <a:rPr lang="de-DE" sz="1600" b="1" dirty="0" smtClean="0">
                <a:solidFill>
                  <a:srgbClr val="FFFFFF"/>
                </a:solidFill>
                <a:ea typeface="Arial Unicode MS" charset="0"/>
                <a:cs typeface="Arial Unicode MS" charset="0"/>
              </a:rPr>
              <a:t> </a:t>
            </a:r>
            <a:r>
              <a:rPr lang="de-DE" sz="1600" b="1" err="1">
                <a:solidFill>
                  <a:srgbClr val="FFFFFF"/>
                </a:solidFill>
                <a:ea typeface="Arial Unicode MS" charset="0"/>
                <a:cs typeface="Arial Unicode MS" charset="0"/>
              </a:rPr>
              <a:t>D</a:t>
            </a:r>
            <a:r>
              <a:rPr lang="de-DE" sz="1600" b="1" smtClean="0">
                <a:solidFill>
                  <a:srgbClr val="FFFFFF"/>
                </a:solidFill>
                <a:ea typeface="Arial Unicode MS" charset="0"/>
                <a:cs typeface="Arial Unicode MS" charset="0"/>
              </a:rPr>
              <a:t>ance-</a:t>
            </a:r>
            <a:r>
              <a:rPr lang="de-DE" sz="1600" b="1" dirty="0" err="1" smtClean="0">
                <a:solidFill>
                  <a:srgbClr val="FFFFFF"/>
                </a:solidFill>
                <a:ea typeface="Arial Unicode MS" charset="0"/>
                <a:cs typeface="Arial Unicode MS" charset="0"/>
              </a:rPr>
              <a:t>A</a:t>
            </a:r>
            <a:r>
              <a:rPr lang="de-DE" sz="1600" b="1" smtClean="0">
                <a:solidFill>
                  <a:srgbClr val="FFFFFF"/>
                </a:solidFill>
                <a:ea typeface="Arial Unicode MS" charset="0"/>
                <a:cs typeface="Arial Unicode MS" charset="0"/>
              </a:rPr>
              <a:t>nthems</a:t>
            </a:r>
            <a:r>
              <a:rPr lang="de-DE" sz="1600" b="1" dirty="0" smtClean="0">
                <a:solidFill>
                  <a:srgbClr val="FFFFFF"/>
                </a:solidFill>
                <a:ea typeface="Arial Unicode MS" charset="0"/>
                <a:cs typeface="Arial Unicode MS" charset="0"/>
              </a:rPr>
              <a:t>                         </a:t>
            </a:r>
            <a:endParaRPr lang="de-DE" sz="1600" b="1" dirty="0">
              <a:solidFill>
                <a:srgbClr val="FFFFFF"/>
              </a:solidFill>
              <a:ea typeface="Arial Unicode MS" charset="0"/>
              <a:cs typeface="Arial Unicode MS" charset="0"/>
            </a:endParaRPr>
          </a:p>
        </p:txBody>
      </p:sp>
      <p:sp>
        <p:nvSpPr>
          <p:cNvPr id="11293" name="Oval 29"/>
          <p:cNvSpPr>
            <a:spLocks noChangeArrowheads="1"/>
          </p:cNvSpPr>
          <p:nvPr/>
        </p:nvSpPr>
        <p:spPr bwMode="auto">
          <a:xfrm>
            <a:off x="1771650" y="2992438"/>
            <a:ext cx="1584325" cy="1331912"/>
          </a:xfrm>
          <a:prstGeom prst="ellipse">
            <a:avLst/>
          </a:prstGeom>
          <a:solidFill>
            <a:srgbClr val="A2AD00"/>
          </a:solidFill>
          <a:ln w="9360">
            <a:solidFill>
              <a:srgbClr val="A2AD00"/>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 pos="1447800" algn="l"/>
              </a:tabLst>
            </a:pPr>
            <a:r>
              <a:rPr lang="de-DE" sz="1200" b="1" dirty="0">
                <a:solidFill>
                  <a:srgbClr val="FFFFFF"/>
                </a:solidFill>
                <a:ea typeface="Arial Unicode MS" charset="0"/>
                <a:cs typeface="Arial Unicode MS" charset="0"/>
              </a:rPr>
              <a:t>Energien </a:t>
            </a:r>
            <a:r>
              <a:rPr lang="de-DE" sz="1200" b="1" dirty="0" smtClean="0">
                <a:solidFill>
                  <a:srgbClr val="FFFFFF"/>
                </a:solidFill>
                <a:ea typeface="Arial Unicode MS" charset="0"/>
                <a:cs typeface="Arial Unicode MS" charset="0"/>
              </a:rPr>
              <a:t>fließen </a:t>
            </a:r>
            <a:r>
              <a:rPr lang="de-DE" sz="1200" b="1" dirty="0">
                <a:solidFill>
                  <a:srgbClr val="FFFFFF"/>
                </a:solidFill>
                <a:ea typeface="Arial Unicode MS" charset="0"/>
                <a:cs typeface="Arial Unicode MS" charset="0"/>
              </a:rPr>
              <a:t>über </a:t>
            </a:r>
            <a:r>
              <a:rPr lang="de-DE" sz="1200" b="1" dirty="0" smtClean="0">
                <a:solidFill>
                  <a:srgbClr val="FFFFFF"/>
                </a:solidFill>
                <a:ea typeface="Arial Unicode MS" charset="0"/>
                <a:cs typeface="Arial Unicode MS" charset="0"/>
              </a:rPr>
              <a:t>Grenzen          </a:t>
            </a:r>
            <a:endParaRPr lang="de-DE" sz="1200" b="1" dirty="0">
              <a:solidFill>
                <a:srgbClr val="FFFFFF"/>
              </a:solidFill>
              <a:ea typeface="Arial Unicode MS" charset="0"/>
              <a:cs typeface="Arial Unicode MS" charset="0"/>
            </a:endParaRPr>
          </a:p>
        </p:txBody>
      </p:sp>
      <p:sp>
        <p:nvSpPr>
          <p:cNvPr id="11298" name="Rectangle 34"/>
          <p:cNvSpPr>
            <a:spLocks noChangeArrowheads="1"/>
          </p:cNvSpPr>
          <p:nvPr/>
        </p:nvSpPr>
        <p:spPr bwMode="auto">
          <a:xfrm>
            <a:off x="304800" y="4294188"/>
            <a:ext cx="2824163" cy="644877"/>
          </a:xfrm>
          <a:prstGeom prst="rect">
            <a:avLst/>
          </a:prstGeom>
          <a:noFill/>
          <a:ln w="9525">
            <a:noFill/>
            <a:round/>
            <a:headEnd/>
            <a:tailEnd/>
          </a:ln>
          <a:effectLst/>
        </p:spPr>
        <p:txBody>
          <a:bodyPr lIns="90000" tIns="45000" rIns="90000" bIns="45000">
            <a:prstTxWarp prst="textNoShape">
              <a:avLst/>
            </a:prstTxWarp>
            <a:spAutoFit/>
          </a:bodyPr>
          <a:lstStyle/>
          <a:p>
            <a:pPr hangingPunct="1">
              <a:lnSpc>
                <a:spcPct val="100000"/>
              </a:lnSpc>
              <a:tabLst>
                <a:tab pos="723900" algn="l"/>
                <a:tab pos="1447800" algn="l"/>
                <a:tab pos="2171700" algn="l"/>
              </a:tabLst>
            </a:pPr>
            <a:r>
              <a:rPr lang="de-DE" sz="1200" b="1" dirty="0">
                <a:solidFill>
                  <a:srgbClr val="A2AD00"/>
                </a:solidFill>
                <a:ea typeface="Arial Unicode MS" charset="0"/>
                <a:cs typeface="Arial Unicode MS" charset="0"/>
              </a:rPr>
              <a:t>Der Netzwerkgedanke ist wichtig</a:t>
            </a:r>
            <a:r>
              <a:rPr lang="de-DE" sz="1200" dirty="0">
                <a:solidFill>
                  <a:srgbClr val="000000"/>
                </a:solidFill>
                <a:ea typeface="Arial Unicode MS" charset="0"/>
                <a:cs typeface="Arial Unicode MS" charset="0"/>
              </a:rPr>
              <a:t>. Über Grenzen hinweg denken, integrativ sein anstelle </a:t>
            </a:r>
            <a:r>
              <a:rPr lang="de-DE" sz="1200" dirty="0" err="1" smtClean="0">
                <a:solidFill>
                  <a:srgbClr val="000000"/>
                </a:solidFill>
                <a:ea typeface="Arial Unicode MS" charset="0"/>
                <a:cs typeface="Arial Unicode MS" charset="0"/>
              </a:rPr>
              <a:t>ausschliessend</a:t>
            </a:r>
            <a:r>
              <a:rPr lang="de-DE" sz="1200" dirty="0" smtClean="0">
                <a:solidFill>
                  <a:srgbClr val="000000"/>
                </a:solidFill>
                <a:ea typeface="Arial Unicode MS" charset="0"/>
                <a:cs typeface="Arial Unicode MS" charset="0"/>
              </a:rPr>
              <a:t>                </a:t>
            </a:r>
            <a:endParaRPr lang="de-DE" sz="1200" dirty="0">
              <a:solidFill>
                <a:srgbClr val="000000"/>
              </a:solidFill>
              <a:ea typeface="Arial Unicode MS" charset="0"/>
              <a:cs typeface="Arial Unicode MS" charset="0"/>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fill="hold" nodeType="clickEffect">
                                  <p:stCondLst>
                                    <p:cond delay="0"/>
                                  </p:stCondLst>
                                  <p:childTnLst>
                                    <p:set>
                                      <p:cBhvr additive="repl">
                                        <p:cTn id="6" dur="1" fill="hold">
                                          <p:stCondLst>
                                            <p:cond delay="0"/>
                                          </p:stCondLst>
                                        </p:cTn>
                                        <p:tgtEl>
                                          <p:spTgt spid="11295"/>
                                        </p:tgtEl>
                                        <p:attrNameLst>
                                          <p:attrName>style.visibility</p:attrName>
                                        </p:attrNameLst>
                                      </p:cBhvr>
                                      <p:to>
                                        <p:strVal val="visible"/>
                                      </p:to>
                                    </p:set>
                                    <p:animEffect transition="in" filter="fade">
                                      <p:cBhvr additive="repl">
                                        <p:cTn id="7" dur="500"/>
                                        <p:tgtEl>
                                          <p:spTgt spid="11295"/>
                                        </p:tgtEl>
                                      </p:cBhvr>
                                    </p:animEffect>
                                  </p:childTnLst>
                                </p:cTn>
                              </p:par>
                              <p:par>
                                <p:cTn id="8" presetID="10" presetClass="entr" fill="hold" nodeType="withEffect">
                                  <p:stCondLst>
                                    <p:cond delay="0"/>
                                  </p:stCondLst>
                                  <p:childTnLst>
                                    <p:set>
                                      <p:cBhvr additive="repl">
                                        <p:cTn id="9" dur="1" fill="hold">
                                          <p:stCondLst>
                                            <p:cond delay="0"/>
                                          </p:stCondLst>
                                        </p:cTn>
                                        <p:tgtEl>
                                          <p:spTgt spid="11296"/>
                                        </p:tgtEl>
                                        <p:attrNameLst>
                                          <p:attrName>style.visibility</p:attrName>
                                        </p:attrNameLst>
                                      </p:cBhvr>
                                      <p:to>
                                        <p:strVal val="visible"/>
                                      </p:to>
                                    </p:set>
                                    <p:animEffect transition="in" filter="fade">
                                      <p:cBhvr additive="repl">
                                        <p:cTn id="10" dur="500"/>
                                        <p:tgtEl>
                                          <p:spTgt spid="1129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fill="hold" nodeType="clickEffect">
                                  <p:stCondLst>
                                    <p:cond delay="0"/>
                                  </p:stCondLst>
                                  <p:childTnLst>
                                    <p:set>
                                      <p:cBhvr additive="repl">
                                        <p:cTn id="14" dur="1" fill="hold">
                                          <p:stCondLst>
                                            <p:cond delay="0"/>
                                          </p:stCondLst>
                                        </p:cTn>
                                        <p:tgtEl>
                                          <p:spTgt spid="11294"/>
                                        </p:tgtEl>
                                        <p:attrNameLst>
                                          <p:attrName>style.visibility</p:attrName>
                                        </p:attrNameLst>
                                      </p:cBhvr>
                                      <p:to>
                                        <p:strVal val="visible"/>
                                      </p:to>
                                    </p:set>
                                    <p:animEffect transition="in" filter="fade">
                                      <p:cBhvr additive="repl">
                                        <p:cTn id="15" dur="500"/>
                                        <p:tgtEl>
                                          <p:spTgt spid="11294"/>
                                        </p:tgtEl>
                                      </p:cBhvr>
                                    </p:animEffect>
                                  </p:childTnLst>
                                </p:cTn>
                              </p:par>
                              <p:par>
                                <p:cTn id="16" presetID="10" presetClass="entr" fill="hold" nodeType="withEffect">
                                  <p:stCondLst>
                                    <p:cond delay="0"/>
                                  </p:stCondLst>
                                  <p:childTnLst>
                                    <p:set>
                                      <p:cBhvr additive="repl">
                                        <p:cTn id="17" dur="1" fill="hold">
                                          <p:stCondLst>
                                            <p:cond delay="0"/>
                                          </p:stCondLst>
                                        </p:cTn>
                                        <p:tgtEl>
                                          <p:spTgt spid="11297"/>
                                        </p:tgtEl>
                                        <p:attrNameLst>
                                          <p:attrName>style.visibility</p:attrName>
                                        </p:attrNameLst>
                                      </p:cBhvr>
                                      <p:to>
                                        <p:strVal val="visible"/>
                                      </p:to>
                                    </p:set>
                                    <p:animEffect transition="in" filter="fade">
                                      <p:cBhvr additive="repl">
                                        <p:cTn id="18" dur="500"/>
                                        <p:tgtEl>
                                          <p:spTgt spid="1129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fill="hold" nodeType="clickEffect">
                                  <p:stCondLst>
                                    <p:cond delay="0"/>
                                  </p:stCondLst>
                                  <p:childTnLst>
                                    <p:set>
                                      <p:cBhvr additive="repl">
                                        <p:cTn id="22" dur="1" fill="hold">
                                          <p:stCondLst>
                                            <p:cond delay="0"/>
                                          </p:stCondLst>
                                        </p:cTn>
                                        <p:tgtEl>
                                          <p:spTgt spid="11293"/>
                                        </p:tgtEl>
                                        <p:attrNameLst>
                                          <p:attrName>style.visibility</p:attrName>
                                        </p:attrNameLst>
                                      </p:cBhvr>
                                      <p:to>
                                        <p:strVal val="visible"/>
                                      </p:to>
                                    </p:set>
                                    <p:animEffect transition="in" filter="fade">
                                      <p:cBhvr additive="repl">
                                        <p:cTn id="23" dur="500"/>
                                        <p:tgtEl>
                                          <p:spTgt spid="11293"/>
                                        </p:tgtEl>
                                      </p:cBhvr>
                                    </p:animEffect>
                                  </p:childTnLst>
                                </p:cTn>
                              </p:par>
                              <p:par>
                                <p:cTn id="24" presetID="10" presetClass="entr" fill="hold" nodeType="withEffect">
                                  <p:stCondLst>
                                    <p:cond delay="0"/>
                                  </p:stCondLst>
                                  <p:childTnLst>
                                    <p:set>
                                      <p:cBhvr additive="repl">
                                        <p:cTn id="25" dur="1" fill="hold">
                                          <p:stCondLst>
                                            <p:cond delay="0"/>
                                          </p:stCondLst>
                                        </p:cTn>
                                        <p:tgtEl>
                                          <p:spTgt spid="11298"/>
                                        </p:tgtEl>
                                        <p:attrNameLst>
                                          <p:attrName>style.visibility</p:attrName>
                                        </p:attrNameLst>
                                      </p:cBhvr>
                                      <p:to>
                                        <p:strVal val="visible"/>
                                      </p:to>
                                    </p:set>
                                    <p:animEffect transition="in" filter="fade">
                                      <p:cBhvr additive="repl">
                                        <p:cTn id="26" dur="500"/>
                                        <p:tgtEl>
                                          <p:spTgt spid="1129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fill="hold" nodeType="clickEffect">
                                  <p:stCondLst>
                                    <p:cond delay="0"/>
                                  </p:stCondLst>
                                  <p:childTnLst>
                                    <p:set>
                                      <p:cBhvr additive="repl">
                                        <p:cTn id="30" dur="1" fill="hold">
                                          <p:stCondLst>
                                            <p:cond delay="0"/>
                                          </p:stCondLst>
                                        </p:cTn>
                                        <p:tgtEl>
                                          <p:spTgt spid="11299"/>
                                        </p:tgtEl>
                                        <p:attrNameLst>
                                          <p:attrName>style.visibility</p:attrName>
                                        </p:attrNameLst>
                                      </p:cBhvr>
                                      <p:to>
                                        <p:strVal val="visible"/>
                                      </p:to>
                                    </p:set>
                                    <p:animEffect transition="in" filter="fade">
                                      <p:cBhvr additive="repl">
                                        <p:cTn id="31" dur="500"/>
                                        <p:tgtEl>
                                          <p:spTgt spid="11299"/>
                                        </p:tgtEl>
                                      </p:cBhvr>
                                    </p:animEffect>
                                  </p:childTnLst>
                                </p:cTn>
                              </p:par>
                              <p:par>
                                <p:cTn id="32" presetID="10" presetClass="entr" fill="hold" nodeType="withEffect">
                                  <p:stCondLst>
                                    <p:cond delay="0"/>
                                  </p:stCondLst>
                                  <p:childTnLst>
                                    <p:set>
                                      <p:cBhvr additive="repl">
                                        <p:cTn id="33" dur="1" fill="hold">
                                          <p:stCondLst>
                                            <p:cond delay="0"/>
                                          </p:stCondLst>
                                        </p:cTn>
                                        <p:tgtEl>
                                          <p:spTgt spid="11300"/>
                                        </p:tgtEl>
                                        <p:attrNameLst>
                                          <p:attrName>style.visibility</p:attrName>
                                        </p:attrNameLst>
                                      </p:cBhvr>
                                      <p:to>
                                        <p:strVal val="visible"/>
                                      </p:to>
                                    </p:set>
                                    <p:animEffect transition="in" filter="fade">
                                      <p:cBhvr additive="repl">
                                        <p:cTn id="34" dur="500"/>
                                        <p:tgtEl>
                                          <p:spTgt spid="113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GB" dirty="0" smtClean="0"/>
              <a:t>Und </a:t>
            </a:r>
            <a:r>
              <a:rPr lang="en-GB" dirty="0" err="1" smtClean="0"/>
              <a:t>wie</a:t>
            </a:r>
            <a:r>
              <a:rPr lang="en-GB" dirty="0" smtClean="0"/>
              <a:t> </a:t>
            </a:r>
            <a:r>
              <a:rPr lang="en-GB" dirty="0" err="1" smtClean="0"/>
              <a:t>klingt</a:t>
            </a:r>
            <a:r>
              <a:rPr lang="en-GB" dirty="0" smtClean="0"/>
              <a:t> das?</a:t>
            </a:r>
            <a:endParaRPr lang="en-GB" dirty="0"/>
          </a:p>
        </p:txBody>
      </p:sp>
      <p:sp>
        <p:nvSpPr>
          <p:cNvPr id="89" name="Text Placeholder 1"/>
          <p:cNvSpPr txBox="1">
            <a:spLocks/>
          </p:cNvSpPr>
          <p:nvPr>
            <p:custDataLst>
              <p:tags r:id="rId1"/>
            </p:custDataLst>
          </p:nvPr>
        </p:nvSpPr>
        <p:spPr bwMode="gray">
          <a:xfrm>
            <a:off x="1892300" y="1231900"/>
            <a:ext cx="6604000" cy="825500"/>
          </a:xfrm>
          <a:prstGeom prst="rect">
            <a:avLst/>
          </a:prstGeom>
          <a:noFill/>
          <a:ln w="9525">
            <a:noFill/>
          </a:ln>
        </p:spPr>
        <p:txBody>
          <a:bodyPr vert="horz" lIns="0" tIns="0" rIns="0" bIns="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179388" lvl="1" indent="-1588">
              <a:buNone/>
            </a:pPr>
            <a:r>
              <a:rPr sz="1200" b="1" dirty="0" smtClean="0"/>
              <a:t>Da </a:t>
            </a:r>
            <a:r>
              <a:rPr sz="1200" b="1" dirty="0"/>
              <a:t>kommen sogar grossartige Popsongs dabei </a:t>
            </a:r>
            <a:r>
              <a:rPr sz="1200" b="1" dirty="0" smtClean="0"/>
              <a:t>raus. </a:t>
            </a:r>
            <a:r>
              <a:rPr sz="1200" dirty="0"/>
              <a:t>M</a:t>
            </a:r>
            <a:r>
              <a:rPr sz="1200" dirty="0" smtClean="0"/>
              <a:t>an </a:t>
            </a:r>
            <a:r>
              <a:rPr sz="1200" dirty="0"/>
              <a:t>kann das Chaos</a:t>
            </a:r>
            <a:r>
              <a:rPr sz="1200" dirty="0" smtClean="0"/>
              <a:t> und die Widersprüche des Lebens noch hören. Ambivalenz</a:t>
            </a:r>
            <a:r>
              <a:rPr sz="1200" dirty="0"/>
              <a:t>, koexistierende Wahrheiten, Komik, Abgrund und </a:t>
            </a:r>
            <a:r>
              <a:rPr sz="1200" dirty="0" smtClean="0"/>
              <a:t>Ekstase. Gesellschaftlich lösungsorientierte Popsongs.</a:t>
            </a:r>
            <a:endParaRPr sz="1200" dirty="0"/>
          </a:p>
        </p:txBody>
      </p:sp>
      <p:sp>
        <p:nvSpPr>
          <p:cNvPr id="62" name="Gleichschenkliges Dreieck 86"/>
          <p:cNvSpPr/>
          <p:nvPr/>
        </p:nvSpPr>
        <p:spPr bwMode="gray">
          <a:xfrm rot="10800000">
            <a:off x="3556695" y="2313138"/>
            <a:ext cx="1750779" cy="226601"/>
          </a:xfrm>
          <a:prstGeom prst="triangle">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7" name="AutoShape 3"/>
          <p:cNvSpPr>
            <a:spLocks noChangeArrowheads="1"/>
          </p:cNvSpPr>
          <p:nvPr/>
        </p:nvSpPr>
        <p:spPr bwMode="auto">
          <a:xfrm>
            <a:off x="304800" y="1231900"/>
            <a:ext cx="1587500" cy="812800"/>
          </a:xfrm>
          <a:prstGeom prst="homePlate">
            <a:avLst>
              <a:gd name="adj" fmla="val 48828"/>
            </a:avLst>
          </a:prstGeom>
          <a:gradFill rotWithShape="0">
            <a:gsLst>
              <a:gs pos="0">
                <a:srgbClr val="ADB6DD"/>
              </a:gs>
              <a:gs pos="100000">
                <a:srgbClr val="E8EBF6"/>
              </a:gs>
            </a:gsLst>
            <a:lin ang="16200000" scaled="1"/>
          </a:gradFill>
          <a:ln w="9360">
            <a:solidFill>
              <a:srgbClr val="233F82"/>
            </a:solidFill>
            <a:round/>
            <a:headEnd/>
            <a:tailEnd/>
          </a:ln>
          <a:effectLst/>
        </p:spPr>
        <p:txBody>
          <a:bodyPr anchor="ctr">
            <a:prstTxWarp prst="textNoShape">
              <a:avLst/>
            </a:prstTxWarp>
          </a:bodyPr>
          <a:lstStyle/>
          <a:p>
            <a:pPr algn="ctr" hangingPunct="1">
              <a:lnSpc>
                <a:spcPct val="100000"/>
              </a:lnSpc>
              <a:spcBef>
                <a:spcPts val="300"/>
              </a:spcBef>
              <a:tabLst>
                <a:tab pos="723900" algn="l"/>
                <a:tab pos="1447800" algn="l"/>
              </a:tabLst>
            </a:pPr>
            <a:r>
              <a:rPr lang="de-DE" sz="1600" b="1">
                <a:solidFill>
                  <a:srgbClr val="000000"/>
                </a:solidFill>
                <a:ea typeface="Arial Unicode MS" charset="0"/>
                <a:cs typeface="Arial Unicode MS" charset="0"/>
              </a:rPr>
              <a:t>Und tatsächlich</a:t>
            </a:r>
          </a:p>
        </p:txBody>
      </p:sp>
      <p:sp>
        <p:nvSpPr>
          <p:cNvPr id="8" name="Rectangle 5"/>
          <p:cNvSpPr>
            <a:spLocks noChangeArrowheads="1"/>
          </p:cNvSpPr>
          <p:nvPr/>
        </p:nvSpPr>
        <p:spPr bwMode="auto">
          <a:xfrm>
            <a:off x="795338" y="2663825"/>
            <a:ext cx="7531100" cy="1498600"/>
          </a:xfrm>
          <a:prstGeom prst="rect">
            <a:avLst/>
          </a:prstGeom>
          <a:gradFill rotWithShape="0">
            <a:gsLst>
              <a:gs pos="0">
                <a:srgbClr val="ADB6DD"/>
              </a:gs>
              <a:gs pos="100000">
                <a:srgbClr val="E8EBF6"/>
              </a:gs>
            </a:gsLst>
            <a:lin ang="16200000" scaled="1"/>
          </a:gradFill>
          <a:ln w="9360">
            <a:solidFill>
              <a:srgbClr val="233F82"/>
            </a:solidFill>
            <a:round/>
            <a:headEnd/>
            <a:tailEnd/>
          </a:ln>
          <a:effectLst/>
        </p:spPr>
        <p:txBody>
          <a:bodyPr lIns="0" tIns="0" rIns="0" bIns="0" anchor="ctr">
            <a:prstTxWarp prst="textNoShape">
              <a:avLst/>
            </a:prstTxWarp>
          </a:bodyPr>
          <a:lstStyle/>
          <a:p>
            <a:pPr marL="179388" hangingPunct="1">
              <a:lnSpc>
                <a:spcPct val="100000"/>
              </a:lnSpc>
              <a:spcBef>
                <a:spcPts val="300"/>
              </a:spcBef>
              <a:tabLst>
                <a:tab pos="723900" algn="l"/>
                <a:tab pos="1447800" algn="l"/>
                <a:tab pos="2171700" algn="l"/>
                <a:tab pos="2895600" algn="l"/>
                <a:tab pos="3619500" algn="l"/>
                <a:tab pos="4343400" algn="l"/>
                <a:tab pos="5067300" algn="l"/>
                <a:tab pos="5791200" algn="l"/>
                <a:tab pos="6515100" algn="l"/>
                <a:tab pos="7239000" algn="l"/>
              </a:tabLst>
            </a:pPr>
            <a:r>
              <a:rPr lang="de-DE" sz="1200" b="1" dirty="0">
                <a:solidFill>
                  <a:srgbClr val="000000"/>
                </a:solidFill>
                <a:ea typeface="Arial Unicode MS" charset="0"/>
                <a:cs typeface="Arial Unicode MS" charset="0"/>
              </a:rPr>
              <a:t>Das selbstbetitelte Album enthält in Struktur gebrachte Improvisation</a:t>
            </a:r>
            <a:r>
              <a:rPr lang="de-DE" sz="1200" dirty="0">
                <a:solidFill>
                  <a:srgbClr val="000000"/>
                </a:solidFill>
                <a:ea typeface="Arial Unicode MS" charset="0"/>
                <a:cs typeface="Arial Unicode MS" charset="0"/>
              </a:rPr>
              <a:t>. Techniken aus Clubmusikproduktion und klassischem Bandkontext werden als Ausgangspunkt benutzt und dürfen sich</a:t>
            </a:r>
            <a:r>
              <a:rPr lang="de-DE" sz="1200" dirty="0" smtClean="0">
                <a:solidFill>
                  <a:srgbClr val="000000"/>
                </a:solidFill>
                <a:ea typeface="Arial Unicode MS" charset="0"/>
                <a:cs typeface="Arial Unicode MS" charset="0"/>
              </a:rPr>
              <a:t> </a:t>
            </a:r>
            <a:br>
              <a:rPr lang="de-DE" sz="1200" dirty="0" smtClean="0">
                <a:solidFill>
                  <a:srgbClr val="000000"/>
                </a:solidFill>
                <a:ea typeface="Arial Unicode MS" charset="0"/>
                <a:cs typeface="Arial Unicode MS" charset="0"/>
              </a:rPr>
            </a:br>
            <a:r>
              <a:rPr lang="de-DE" sz="1200" dirty="0" smtClean="0">
                <a:solidFill>
                  <a:srgbClr val="000000"/>
                </a:solidFill>
                <a:ea typeface="Arial Unicode MS" charset="0"/>
                <a:cs typeface="Arial Unicode MS" charset="0"/>
              </a:rPr>
              <a:t>ohne </a:t>
            </a:r>
            <a:r>
              <a:rPr lang="de-DE" sz="1200" dirty="0">
                <a:solidFill>
                  <a:srgbClr val="000000"/>
                </a:solidFill>
                <a:ea typeface="Arial Unicode MS" charset="0"/>
                <a:cs typeface="Arial Unicode MS" charset="0"/>
              </a:rPr>
              <a:t>fest definiertes Ziel entfalten. Man hört dabei die Freude am Finden und Erfinden von Klängen. Mal orientieren sich die</a:t>
            </a:r>
            <a:r>
              <a:rPr lang="de-DE" sz="1200" dirty="0" smtClean="0">
                <a:solidFill>
                  <a:srgbClr val="000000"/>
                </a:solidFill>
                <a:ea typeface="Arial Unicode MS" charset="0"/>
                <a:cs typeface="Arial Unicode MS" charset="0"/>
              </a:rPr>
              <a:t> Stücke </a:t>
            </a:r>
            <a:r>
              <a:rPr lang="de-DE" sz="1200" dirty="0">
                <a:solidFill>
                  <a:srgbClr val="000000"/>
                </a:solidFill>
                <a:ea typeface="Arial Unicode MS" charset="0"/>
                <a:cs typeface="Arial Unicode MS" charset="0"/>
              </a:rPr>
              <a:t>am losen Live-Arrangement, mal sind sie zur klassischen Single-Länge kondensiert</a:t>
            </a: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1176294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8" grpId="0" animBg="1"/>
    </p:bld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3313" name="Group 1"/>
          <p:cNvGrpSpPr>
            <a:grpSpLocks/>
          </p:cNvGrpSpPr>
          <p:nvPr/>
        </p:nvGrpSpPr>
        <p:grpSpPr bwMode="auto">
          <a:xfrm>
            <a:off x="3721100" y="1441450"/>
            <a:ext cx="2590800" cy="2590800"/>
            <a:chOff x="2344" y="908"/>
            <a:chExt cx="1632" cy="1632"/>
          </a:xfrm>
        </p:grpSpPr>
        <p:sp>
          <p:nvSpPr>
            <p:cNvPr id="13314" name="Oval 2"/>
            <p:cNvSpPr>
              <a:spLocks noChangeArrowheads="1"/>
            </p:cNvSpPr>
            <p:nvPr/>
          </p:nvSpPr>
          <p:spPr bwMode="auto">
            <a:xfrm>
              <a:off x="2344" y="908"/>
              <a:ext cx="1632" cy="1632"/>
            </a:xfrm>
            <a:prstGeom prst="ellipse">
              <a:avLst/>
            </a:prstGeom>
            <a:solidFill>
              <a:srgbClr val="FFFFFF"/>
            </a:solidFill>
            <a:ln w="9525">
              <a:noFill/>
              <a:round/>
              <a:headEnd/>
              <a:tailEnd/>
            </a:ln>
            <a:effectLst/>
          </p:spPr>
          <p:txBody>
            <a:bodyPr wrap="none" anchor="ctr">
              <a:prstTxWarp prst="textNoShape">
                <a:avLst/>
              </a:prstTxWarp>
            </a:bodyPr>
            <a:lstStyle/>
            <a:p>
              <a:endParaRPr lang="de-CH"/>
            </a:p>
          </p:txBody>
        </p:sp>
        <p:grpSp>
          <p:nvGrpSpPr>
            <p:cNvPr id="13315" name="Group 3"/>
            <p:cNvGrpSpPr>
              <a:grpSpLocks/>
            </p:cNvGrpSpPr>
            <p:nvPr/>
          </p:nvGrpSpPr>
          <p:grpSpPr bwMode="auto">
            <a:xfrm>
              <a:off x="2455" y="1019"/>
              <a:ext cx="1409" cy="1409"/>
              <a:chOff x="2455" y="1019"/>
              <a:chExt cx="1409" cy="1409"/>
            </a:xfrm>
          </p:grpSpPr>
          <p:sp>
            <p:nvSpPr>
              <p:cNvPr id="13316" name="Freeform 4"/>
              <p:cNvSpPr>
                <a:spLocks noChangeArrowheads="1"/>
              </p:cNvSpPr>
              <p:nvPr/>
            </p:nvSpPr>
            <p:spPr bwMode="auto">
              <a:xfrm>
                <a:off x="3109" y="1773"/>
                <a:ext cx="752" cy="655"/>
              </a:xfrm>
              <a:custGeom>
                <a:avLst/>
                <a:gdLst>
                  <a:gd name="G0" fmla="+- 57366 0 0"/>
                  <a:gd name="G1" fmla="+- 61540 0 0"/>
                </a:gdLst>
                <a:ahLst/>
                <a:cxnLst>
                  <a:cxn ang="0">
                    <a:pos x="1184353" y="0"/>
                  </a:cxn>
                  <a:cxn ang="0">
                    <a:pos x="1347990" y="104148"/>
                  </a:cxn>
                  <a:cxn ang="0">
                    <a:pos x="1499158" y="7231"/>
                  </a:cxn>
                  <a:cxn ang="0">
                    <a:pos x="100435" y="1306724"/>
                  </a:cxn>
                  <a:cxn ang="0">
                    <a:pos x="95553" y="1306478"/>
                  </a:cxn>
                  <a:cxn ang="0">
                    <a:pos x="0" y="1155928"/>
                  </a:cxn>
                  <a:cxn ang="0">
                    <a:pos x="103910" y="991379"/>
                  </a:cxn>
                  <a:cxn ang="0">
                    <a:pos x="1184353" y="0"/>
                  </a:cxn>
                </a:cxnLst>
                <a:rect l="0" t="0" r="r" b="b"/>
                <a:pathLst>
                  <a:path w="1499158" h="1306724">
                    <a:moveTo>
                      <a:pt x="1184353" y="0"/>
                    </a:moveTo>
                    <a:cubicBezTo>
                      <a:pt x="1347990" y="104148"/>
                      <a:pt x="1347990" y="104148"/>
                      <a:pt x="1347990" y="104148"/>
                    </a:cubicBezTo>
                    <a:cubicBezTo>
                      <a:pt x="1407320" y="66111"/>
                      <a:pt x="1457208" y="34126"/>
                      <a:pt x="1499158" y="7231"/>
                    </a:cubicBezTo>
                    <a:cubicBezTo>
                      <a:pt x="1447081" y="733889"/>
                      <a:pt x="840655" y="1306724"/>
                      <a:pt x="100435" y="1306724"/>
                    </a:cubicBezTo>
                    <a:lnTo>
                      <a:pt x="95553" y="1306478"/>
                    </a:lnTo>
                    <a:cubicBezTo>
                      <a:pt x="0" y="1155928"/>
                      <a:pt x="0" y="1155928"/>
                      <a:pt x="0" y="1155928"/>
                    </a:cubicBezTo>
                    <a:cubicBezTo>
                      <a:pt x="41784" y="1089760"/>
                      <a:pt x="75959" y="1035642"/>
                      <a:pt x="103910" y="991379"/>
                    </a:cubicBezTo>
                    <a:cubicBezTo>
                      <a:pt x="670878" y="989777"/>
                      <a:pt x="1135843" y="554668"/>
                      <a:pt x="1184353" y="0"/>
                    </a:cubicBezTo>
                    <a:close/>
                  </a:path>
                </a:pathLst>
              </a:custGeom>
              <a:solidFill>
                <a:srgbClr val="007DC3"/>
              </a:solidFill>
              <a:ln w="9525">
                <a:noFill/>
                <a:round/>
                <a:headEnd/>
                <a:tailEnd/>
              </a:ln>
              <a:effectLst/>
            </p:spPr>
            <p:txBody>
              <a:bodyPr wrap="none" anchor="ctr">
                <a:prstTxWarp prst="textNoShape">
                  <a:avLst/>
                </a:prstTxWarp>
              </a:bodyPr>
              <a:lstStyle/>
              <a:p>
                <a:endParaRPr lang="de-CH"/>
              </a:p>
            </p:txBody>
          </p:sp>
          <p:sp>
            <p:nvSpPr>
              <p:cNvPr id="13317" name="Freeform 5"/>
              <p:cNvSpPr>
                <a:spLocks noChangeArrowheads="1"/>
              </p:cNvSpPr>
              <p:nvPr/>
            </p:nvSpPr>
            <p:spPr bwMode="auto">
              <a:xfrm>
                <a:off x="2455" y="1686"/>
                <a:ext cx="658" cy="739"/>
              </a:xfrm>
              <a:custGeom>
                <a:avLst/>
                <a:gdLst>
                  <a:gd name="G0" fmla="+- 2255 0 0"/>
                  <a:gd name="G1" fmla="+- 32604 0 0"/>
                </a:gdLst>
                <a:ahLst/>
                <a:cxnLst>
                  <a:cxn ang="0">
                    <a:pos x="146725" y="0"/>
                  </a:cxn>
                  <a:cxn ang="0">
                    <a:pos x="315886" y="108022"/>
                  </a:cxn>
                  <a:cxn ang="0">
                    <a:pos x="1312975" y="1159997"/>
                  </a:cxn>
                  <a:cxn ang="0">
                    <a:pos x="1204903" y="1328934"/>
                  </a:cxn>
                  <a:cxn ang="0">
                    <a:pos x="1297709" y="1474396"/>
                  </a:cxn>
                  <a:cxn ang="0">
                    <a:pos x="0" y="93840"/>
                  </a:cxn>
                </a:cxnLst>
                <a:rect l="0" t="0" r="r" b="b"/>
                <a:pathLst>
                  <a:path w="1312975" h="1474396">
                    <a:moveTo>
                      <a:pt x="146725" y="0"/>
                    </a:moveTo>
                    <a:cubicBezTo>
                      <a:pt x="214502" y="43281"/>
                      <a:pt x="270168" y="78828"/>
                      <a:pt x="315886" y="108022"/>
                    </a:cubicBezTo>
                    <a:cubicBezTo>
                      <a:pt x="330951" y="664288"/>
                      <a:pt x="764343" y="1115891"/>
                      <a:pt x="1312975" y="1159997"/>
                    </a:cubicBezTo>
                    <a:cubicBezTo>
                      <a:pt x="1204903" y="1328934"/>
                      <a:pt x="1204903" y="1328934"/>
                      <a:pt x="1204903" y="1328934"/>
                    </a:cubicBezTo>
                    <a:cubicBezTo>
                      <a:pt x="1241113" y="1385689"/>
                      <a:pt x="1271764" y="1433730"/>
                      <a:pt x="1297709" y="1474396"/>
                    </a:cubicBezTo>
                    <a:cubicBezTo>
                      <a:pt x="577404" y="1422321"/>
                      <a:pt x="8461" y="825524"/>
                      <a:pt x="0" y="93840"/>
                    </a:cubicBezTo>
                    <a:close/>
                  </a:path>
                </a:pathLst>
              </a:custGeom>
              <a:solidFill>
                <a:srgbClr val="A2AD00"/>
              </a:solidFill>
              <a:ln w="9525">
                <a:noFill/>
                <a:round/>
                <a:headEnd/>
                <a:tailEnd/>
              </a:ln>
              <a:effectLst/>
            </p:spPr>
            <p:txBody>
              <a:bodyPr wrap="none" anchor="ctr">
                <a:prstTxWarp prst="textNoShape">
                  <a:avLst/>
                </a:prstTxWarp>
              </a:bodyPr>
              <a:lstStyle/>
              <a:p>
                <a:endParaRPr lang="de-CH"/>
              </a:p>
            </p:txBody>
          </p:sp>
          <p:sp>
            <p:nvSpPr>
              <p:cNvPr id="13318" name="Freeform 6"/>
              <p:cNvSpPr>
                <a:spLocks noChangeArrowheads="1"/>
              </p:cNvSpPr>
              <p:nvPr/>
            </p:nvSpPr>
            <p:spPr bwMode="auto">
              <a:xfrm>
                <a:off x="2457" y="1019"/>
                <a:ext cx="742" cy="672"/>
              </a:xfrm>
              <a:custGeom>
                <a:avLst/>
                <a:gdLst>
                  <a:gd name="G0" fmla="+- 37018 0 0"/>
                  <a:gd name="G1" fmla="+- 28930 0 0"/>
                </a:gdLst>
                <a:ahLst/>
                <a:cxnLst>
                  <a:cxn ang="0">
                    <a:pos x="1384481" y="0"/>
                  </a:cxn>
                  <a:cxn ang="0">
                    <a:pos x="1478810" y="146152"/>
                  </a:cxn>
                  <a:cxn ang="0">
                    <a:pos x="1369892" y="315906"/>
                  </a:cxn>
                  <a:cxn ang="0">
                    <a:pos x="314238" y="1339650"/>
                  </a:cxn>
                  <a:cxn ang="0">
                    <a:pos x="143493" y="1229772"/>
                  </a:cxn>
                  <a:cxn ang="0">
                    <a:pos x="0" y="1321208"/>
                  </a:cxn>
                  <a:cxn ang="0">
                    <a:pos x="1384481" y="0"/>
                  </a:cxn>
                </a:cxnLst>
                <a:rect l="0" t="0" r="r" b="b"/>
                <a:pathLst>
                  <a:path w="1478810" h="1339650">
                    <a:moveTo>
                      <a:pt x="1384481" y="0"/>
                    </a:moveTo>
                    <a:cubicBezTo>
                      <a:pt x="1478810" y="146152"/>
                      <a:pt x="1478810" y="146152"/>
                      <a:pt x="1478810" y="146152"/>
                    </a:cubicBezTo>
                    <a:cubicBezTo>
                      <a:pt x="1435219" y="214091"/>
                      <a:pt x="1399371" y="269961"/>
                      <a:pt x="1369892" y="315906"/>
                    </a:cubicBezTo>
                    <a:cubicBezTo>
                      <a:pt x="803614" y="330114"/>
                      <a:pt x="345244" y="777740"/>
                      <a:pt x="314238" y="1339650"/>
                    </a:cubicBezTo>
                    <a:cubicBezTo>
                      <a:pt x="143493" y="1229772"/>
                      <a:pt x="143493" y="1229772"/>
                      <a:pt x="143493" y="1229772"/>
                    </a:cubicBezTo>
                    <a:cubicBezTo>
                      <a:pt x="87370" y="1265535"/>
                      <a:pt x="39993" y="1295724"/>
                      <a:pt x="0" y="1321208"/>
                    </a:cubicBezTo>
                    <a:cubicBezTo>
                      <a:pt x="40444" y="588979"/>
                      <a:pt x="643648" y="7259"/>
                      <a:pt x="1384481" y="0"/>
                    </a:cubicBezTo>
                    <a:close/>
                  </a:path>
                </a:pathLst>
              </a:custGeom>
              <a:solidFill>
                <a:srgbClr val="C1BB00"/>
              </a:solidFill>
              <a:ln w="9525">
                <a:noFill/>
                <a:round/>
                <a:headEnd/>
                <a:tailEnd/>
              </a:ln>
              <a:effectLst/>
            </p:spPr>
            <p:txBody>
              <a:bodyPr wrap="none" anchor="ctr">
                <a:prstTxWarp prst="textNoShape">
                  <a:avLst/>
                </a:prstTxWarp>
              </a:bodyPr>
              <a:lstStyle/>
              <a:p>
                <a:endParaRPr lang="de-CH"/>
              </a:p>
            </p:txBody>
          </p:sp>
          <p:sp>
            <p:nvSpPr>
              <p:cNvPr id="13319" name="Freeform 7"/>
              <p:cNvSpPr>
                <a:spLocks noChangeArrowheads="1"/>
              </p:cNvSpPr>
              <p:nvPr/>
            </p:nvSpPr>
            <p:spPr bwMode="auto">
              <a:xfrm>
                <a:off x="3193" y="1021"/>
                <a:ext cx="671" cy="754"/>
              </a:xfrm>
              <a:custGeom>
                <a:avLst/>
                <a:gdLst>
                  <a:gd name="G0" fmla="+- 27755 0 0"/>
                  <a:gd name="G1" fmla="+- 61687 0 0"/>
                </a:gdLst>
                <a:ahLst/>
                <a:cxnLst>
                  <a:cxn ang="0">
                    <a:pos x="17480" y="0"/>
                  </a:cxn>
                  <a:cxn ang="0">
                    <a:pos x="1338475" y="1399808"/>
                  </a:cxn>
                  <a:cxn ang="0">
                    <a:pos x="1338273" y="1403807"/>
                  </a:cxn>
                  <a:cxn ang="0">
                    <a:pos x="1182015" y="1503479"/>
                  </a:cxn>
                  <a:cxn ang="0">
                    <a:pos x="1023180" y="1402285"/>
                  </a:cxn>
                  <a:cxn ang="0">
                    <a:pos x="1023305" y="1399808"/>
                  </a:cxn>
                  <a:cxn ang="0">
                    <a:pos x="0" y="314287"/>
                  </a:cxn>
                  <a:cxn ang="0">
                    <a:pos x="107972" y="142733"/>
                  </a:cxn>
                  <a:cxn ang="0">
                    <a:pos x="17480" y="0"/>
                  </a:cxn>
                </a:cxnLst>
                <a:rect l="0" t="0" r="r" b="b"/>
                <a:pathLst>
                  <a:path w="1338475" h="1503479">
                    <a:moveTo>
                      <a:pt x="17480" y="0"/>
                    </a:moveTo>
                    <a:cubicBezTo>
                      <a:pt x="754305" y="41233"/>
                      <a:pt x="1338475" y="652300"/>
                      <a:pt x="1338475" y="1399808"/>
                    </a:cubicBezTo>
                    <a:lnTo>
                      <a:pt x="1338273" y="1403807"/>
                    </a:lnTo>
                    <a:cubicBezTo>
                      <a:pt x="1182015" y="1503479"/>
                      <a:pt x="1182015" y="1503479"/>
                      <a:pt x="1182015" y="1503479"/>
                    </a:cubicBezTo>
                    <a:cubicBezTo>
                      <a:pt x="1118540" y="1463039"/>
                      <a:pt x="1066252" y="1429726"/>
                      <a:pt x="1023180" y="1402285"/>
                    </a:cubicBezTo>
                    <a:cubicBezTo>
                      <a:pt x="1023304" y="1401460"/>
                      <a:pt x="1023305" y="1400634"/>
                      <a:pt x="1023305" y="1399808"/>
                    </a:cubicBezTo>
                    <a:cubicBezTo>
                      <a:pt x="1023305" y="820492"/>
                      <a:pt x="570879" y="346845"/>
                      <a:pt x="0" y="314287"/>
                    </a:cubicBezTo>
                    <a:cubicBezTo>
                      <a:pt x="107972" y="142733"/>
                      <a:pt x="107972" y="142733"/>
                      <a:pt x="107972" y="142733"/>
                    </a:cubicBezTo>
                    <a:cubicBezTo>
                      <a:pt x="72553" y="86867"/>
                      <a:pt x="42679" y="39745"/>
                      <a:pt x="17480" y="0"/>
                    </a:cubicBezTo>
                    <a:close/>
                  </a:path>
                </a:pathLst>
              </a:custGeom>
              <a:solidFill>
                <a:srgbClr val="264283"/>
              </a:solidFill>
              <a:ln w="9525">
                <a:noFill/>
                <a:round/>
                <a:headEnd/>
                <a:tailEnd/>
              </a:ln>
              <a:effectLst/>
            </p:spPr>
            <p:txBody>
              <a:bodyPr wrap="none" anchor="ctr">
                <a:prstTxWarp prst="textNoShape">
                  <a:avLst/>
                </a:prstTxWarp>
              </a:bodyPr>
              <a:lstStyle/>
              <a:p>
                <a:endParaRPr lang="de-CH"/>
              </a:p>
            </p:txBody>
          </p:sp>
        </p:grpSp>
      </p:grpSp>
      <p:sp>
        <p:nvSpPr>
          <p:cNvPr id="13320" name="Rectangle 8"/>
          <p:cNvSpPr>
            <a:spLocks noChangeArrowheads="1"/>
          </p:cNvSpPr>
          <p:nvPr/>
        </p:nvSpPr>
        <p:spPr bwMode="auto">
          <a:xfrm>
            <a:off x="5930900" y="3508375"/>
            <a:ext cx="2984500" cy="1150938"/>
          </a:xfrm>
          <a:prstGeom prst="rect">
            <a:avLst/>
          </a:prstGeom>
          <a:noFill/>
          <a:ln w="9360">
            <a:noFill/>
            <a:round/>
            <a:headEnd/>
            <a:tailEnd/>
          </a:ln>
          <a:effectLst/>
        </p:spPr>
        <p:txBody>
          <a:bodyPr lIns="0" tIns="82800" rIns="0" bIns="0">
            <a:prstTxWarp prst="textNoShape">
              <a:avLst/>
            </a:prstTxWarp>
          </a:bodyPr>
          <a:lstStyle/>
          <a:p>
            <a:pPr algn="r" hangingPunct="1">
              <a:lnSpc>
                <a:spcPct val="100000"/>
              </a:lnSpc>
              <a:spcBef>
                <a:spcPts val="300"/>
              </a:spcBef>
              <a:tabLst>
                <a:tab pos="723900" algn="l"/>
                <a:tab pos="1447800" algn="l"/>
                <a:tab pos="2171700" algn="l"/>
                <a:tab pos="2895600" algn="l"/>
              </a:tabLst>
            </a:pPr>
            <a:r>
              <a:rPr lang="en-US" sz="1200" dirty="0" err="1" smtClean="0"/>
              <a:t>Beide</a:t>
            </a:r>
            <a:r>
              <a:rPr lang="en-US" sz="1200" dirty="0" smtClean="0"/>
              <a:t> Songs </a:t>
            </a:r>
            <a:r>
              <a:rPr lang="en-US" sz="1200" dirty="0" err="1" smtClean="0"/>
              <a:t>sind</a:t>
            </a:r>
            <a:r>
              <a:rPr lang="en-US" sz="1200" dirty="0" smtClean="0"/>
              <a:t> </a:t>
            </a:r>
            <a:r>
              <a:rPr lang="en-US" sz="1200" dirty="0" err="1" smtClean="0"/>
              <a:t>Beispiele</a:t>
            </a:r>
            <a:r>
              <a:rPr lang="en-US" sz="1200" dirty="0" smtClean="0"/>
              <a:t> </a:t>
            </a:r>
            <a:r>
              <a:rPr lang="en-US" sz="1200" dirty="0" err="1" smtClean="0"/>
              <a:t>für</a:t>
            </a:r>
            <a:r>
              <a:rPr lang="en-US" sz="1200" dirty="0" smtClean="0"/>
              <a:t> die </a:t>
            </a:r>
            <a:r>
              <a:rPr lang="en-US" sz="1200" dirty="0" err="1" smtClean="0"/>
              <a:t>Neigung</a:t>
            </a:r>
            <a:r>
              <a:rPr lang="en-US" sz="1200" dirty="0" smtClean="0"/>
              <a:t> </a:t>
            </a:r>
            <a:r>
              <a:rPr lang="en-US" sz="1200" dirty="0" err="1" smtClean="0"/>
              <a:t>der</a:t>
            </a:r>
            <a:r>
              <a:rPr lang="en-US" sz="1200" dirty="0" smtClean="0"/>
              <a:t> Band </a:t>
            </a:r>
            <a:r>
              <a:rPr lang="en-US" sz="1200" dirty="0" err="1" smtClean="0"/>
              <a:t>zu</a:t>
            </a:r>
            <a:r>
              <a:rPr lang="en-US" sz="1200" dirty="0" smtClean="0"/>
              <a:t> </a:t>
            </a:r>
            <a:r>
              <a:rPr lang="en-US" sz="1200" dirty="0" err="1" smtClean="0"/>
              <a:t>unkonventionellen</a:t>
            </a:r>
            <a:r>
              <a:rPr lang="en-US" sz="1200" dirty="0" smtClean="0"/>
              <a:t> </a:t>
            </a:r>
            <a:r>
              <a:rPr lang="en-US" sz="1200" dirty="0" err="1" smtClean="0"/>
              <a:t>Entwürfen</a:t>
            </a:r>
            <a:r>
              <a:rPr lang="en-US" sz="1200" dirty="0" smtClean="0"/>
              <a:t>. Den </a:t>
            </a:r>
            <a:r>
              <a:rPr lang="en-US" sz="1200" dirty="0" err="1" smtClean="0"/>
              <a:t>Hörenden</a:t>
            </a:r>
            <a:r>
              <a:rPr lang="en-US" sz="1200" dirty="0" smtClean="0"/>
              <a:t> </a:t>
            </a:r>
            <a:r>
              <a:rPr lang="en-US" sz="1200" dirty="0" err="1" smtClean="0"/>
              <a:t>wird</a:t>
            </a:r>
            <a:r>
              <a:rPr lang="en-US" sz="1200" dirty="0" smtClean="0"/>
              <a:t> </a:t>
            </a:r>
            <a:r>
              <a:rPr lang="en-US" sz="1200" dirty="0" err="1" smtClean="0"/>
              <a:t>eine</a:t>
            </a:r>
            <a:r>
              <a:rPr lang="en-US" sz="1200" dirty="0" smtClean="0"/>
              <a:t> Message von </a:t>
            </a:r>
            <a:r>
              <a:rPr lang="en-US" sz="1200" dirty="0" err="1" smtClean="0"/>
              <a:t>neuen</a:t>
            </a:r>
            <a:r>
              <a:rPr lang="en-US" sz="1200" dirty="0" smtClean="0"/>
              <a:t> </a:t>
            </a:r>
            <a:r>
              <a:rPr lang="en-US" sz="1200" dirty="0" err="1" smtClean="0"/>
              <a:t>Möglichkeiten</a:t>
            </a:r>
            <a:r>
              <a:rPr lang="en-US" sz="1200" dirty="0" smtClean="0"/>
              <a:t> in </a:t>
            </a:r>
            <a:r>
              <a:rPr lang="en-US" sz="1200" dirty="0" err="1" smtClean="0"/>
              <a:t>ihnen</a:t>
            </a:r>
            <a:r>
              <a:rPr lang="en-US" sz="1200" dirty="0" smtClean="0"/>
              <a:t> </a:t>
            </a:r>
            <a:r>
              <a:rPr lang="en-US" sz="1200" dirty="0" err="1" smtClean="0"/>
              <a:t>selber</a:t>
            </a:r>
            <a:r>
              <a:rPr lang="en-US" sz="1200" dirty="0" smtClean="0"/>
              <a:t> in Form </a:t>
            </a:r>
            <a:r>
              <a:rPr lang="en-US" sz="1200" dirty="0" err="1" smtClean="0"/>
              <a:t>eines</a:t>
            </a:r>
            <a:r>
              <a:rPr lang="en-US" sz="1200" dirty="0" smtClean="0"/>
              <a:t> </a:t>
            </a:r>
            <a:r>
              <a:rPr lang="en-US" sz="1200" dirty="0" err="1" smtClean="0"/>
              <a:t>rätselhaften</a:t>
            </a:r>
            <a:r>
              <a:rPr lang="en-US" sz="1200" dirty="0" smtClean="0"/>
              <a:t> </a:t>
            </a:r>
            <a:r>
              <a:rPr lang="en-US" sz="1200" dirty="0" err="1" smtClean="0"/>
              <a:t>Ohrwurms</a:t>
            </a:r>
            <a:r>
              <a:rPr lang="en-US" sz="1200" dirty="0" smtClean="0"/>
              <a:t> </a:t>
            </a:r>
            <a:r>
              <a:rPr lang="en-US" sz="1200" dirty="0" err="1" smtClean="0"/>
              <a:t>injiziert</a:t>
            </a:r>
            <a:endParaRPr lang="de-DE" sz="1200" dirty="0">
              <a:solidFill>
                <a:srgbClr val="000000"/>
              </a:solidFill>
              <a:ea typeface="Arial Unicode MS" charset="0"/>
              <a:cs typeface="Arial Unicode MS" charset="0"/>
            </a:endParaRPr>
          </a:p>
        </p:txBody>
      </p:sp>
      <p:sp>
        <p:nvSpPr>
          <p:cNvPr id="13321" name="Rectangle 9"/>
          <p:cNvSpPr>
            <a:spLocks noChangeArrowheads="1"/>
          </p:cNvSpPr>
          <p:nvPr/>
        </p:nvSpPr>
        <p:spPr bwMode="auto">
          <a:xfrm>
            <a:off x="5943600" y="1190625"/>
            <a:ext cx="2971800" cy="1150938"/>
          </a:xfrm>
          <a:prstGeom prst="rect">
            <a:avLst/>
          </a:prstGeom>
          <a:noFill/>
          <a:ln w="9360">
            <a:noFill/>
            <a:round/>
            <a:headEnd/>
            <a:tailEnd/>
          </a:ln>
          <a:effectLst/>
        </p:spPr>
        <p:txBody>
          <a:bodyPr lIns="0" tIns="82800" rIns="0" bIns="0">
            <a:prstTxWarp prst="textNoShape">
              <a:avLst/>
            </a:prstTxWarp>
          </a:bodyPr>
          <a:lstStyle/>
          <a:p>
            <a:pPr algn="r" hangingPunct="1">
              <a:lnSpc>
                <a:spcPct val="100000"/>
              </a:lnSpc>
              <a:spcBef>
                <a:spcPts val="300"/>
              </a:spcBef>
              <a:tabLst>
                <a:tab pos="723900" algn="l"/>
                <a:tab pos="1447800" algn="l"/>
                <a:tab pos="2171700" algn="l"/>
              </a:tabLst>
            </a:pPr>
            <a:r>
              <a:rPr lang="de-DE" sz="1200" dirty="0">
                <a:solidFill>
                  <a:srgbClr val="000000"/>
                </a:solidFill>
                <a:ea typeface="Arial Unicode MS" charset="0"/>
                <a:cs typeface="Arial Unicode MS" charset="0"/>
              </a:rPr>
              <a:t>Mit der charakteristischen Falsettstimme Büchners vorgetragene </a:t>
            </a:r>
            <a:r>
              <a:rPr lang="de-DE" sz="1200" dirty="0" err="1">
                <a:solidFill>
                  <a:srgbClr val="000000"/>
                </a:solidFill>
                <a:ea typeface="Arial Unicode MS" charset="0"/>
                <a:cs typeface="Arial Unicode MS" charset="0"/>
              </a:rPr>
              <a:t>Mantren</a:t>
            </a:r>
            <a:r>
              <a:rPr lang="de-DE" sz="1200" dirty="0">
                <a:solidFill>
                  <a:srgbClr val="000000"/>
                </a:solidFill>
                <a:ea typeface="Arial Unicode MS" charset="0"/>
                <a:cs typeface="Arial Unicode MS" charset="0"/>
              </a:rPr>
              <a:t> und Verse, künden vom ambivalenten Versprechen der </a:t>
            </a:r>
            <a:r>
              <a:rPr lang="de-DE" sz="1200" dirty="0" smtClean="0">
                <a:solidFill>
                  <a:srgbClr val="000000"/>
                </a:solidFill>
                <a:ea typeface="Arial Unicode MS" charset="0"/>
                <a:cs typeface="Arial Unicode MS" charset="0"/>
              </a:rPr>
              <a:t>Enthaltsamkeit. </a:t>
            </a:r>
            <a:r>
              <a:rPr lang="en-US" sz="1200" dirty="0" err="1" smtClean="0"/>
              <a:t>Nicht</a:t>
            </a:r>
            <a:r>
              <a:rPr lang="en-US" sz="1200" dirty="0" smtClean="0"/>
              <a:t> Marijuana </a:t>
            </a:r>
            <a:r>
              <a:rPr lang="en-US" sz="1200" dirty="0" err="1" smtClean="0"/>
              <a:t>wird</a:t>
            </a:r>
            <a:r>
              <a:rPr lang="en-US" sz="1200" dirty="0" smtClean="0"/>
              <a:t> die Welt </a:t>
            </a:r>
            <a:r>
              <a:rPr lang="en-US" sz="1200" dirty="0" err="1" smtClean="0"/>
              <a:t>befrieden</a:t>
            </a:r>
            <a:r>
              <a:rPr lang="en-US" sz="1200" dirty="0" smtClean="0"/>
              <a:t>, </a:t>
            </a:r>
            <a:r>
              <a:rPr lang="en-US" sz="1200" dirty="0" err="1" smtClean="0"/>
              <a:t>sondern</a:t>
            </a:r>
            <a:r>
              <a:rPr lang="en-US" sz="1200" dirty="0" smtClean="0"/>
              <a:t> </a:t>
            </a:r>
            <a:r>
              <a:rPr lang="en-US" sz="1200" dirty="0" err="1" smtClean="0"/>
              <a:t>ein</a:t>
            </a:r>
            <a:r>
              <a:rPr lang="en-US" sz="1200" dirty="0" smtClean="0"/>
              <a:t> </a:t>
            </a:r>
            <a:r>
              <a:rPr lang="en-US" sz="1200" dirty="0" err="1" smtClean="0"/>
              <a:t>neuer</a:t>
            </a:r>
            <a:r>
              <a:rPr lang="en-US" sz="1200" dirty="0" smtClean="0"/>
              <a:t> </a:t>
            </a:r>
            <a:r>
              <a:rPr lang="en-US" sz="1200" dirty="0" err="1" smtClean="0"/>
              <a:t>bewusster</a:t>
            </a:r>
            <a:r>
              <a:rPr lang="en-US" sz="1200" dirty="0" smtClean="0"/>
              <a:t> </a:t>
            </a:r>
            <a:r>
              <a:rPr lang="en-US" sz="1200" dirty="0" err="1" smtClean="0"/>
              <a:t>Umgang</a:t>
            </a:r>
            <a:r>
              <a:rPr lang="en-US" sz="1200" dirty="0" smtClean="0"/>
              <a:t> </a:t>
            </a:r>
            <a:r>
              <a:rPr lang="en-US" sz="1200" dirty="0" err="1" smtClean="0"/>
              <a:t>mit</a:t>
            </a:r>
            <a:r>
              <a:rPr lang="en-US" sz="1200" dirty="0" smtClean="0"/>
              <a:t> </a:t>
            </a:r>
            <a:r>
              <a:rPr lang="en-US" sz="1200" dirty="0" err="1" smtClean="0"/>
              <a:t>Ressourcen</a:t>
            </a:r>
            <a:r>
              <a:rPr lang="en-US" sz="1200" dirty="0" smtClean="0"/>
              <a:t> </a:t>
            </a:r>
            <a:r>
              <a:rPr lang="en-US" sz="1200" dirty="0" err="1" smtClean="0"/>
              <a:t>bringt</a:t>
            </a:r>
            <a:r>
              <a:rPr lang="en-US" sz="1200" dirty="0" smtClean="0"/>
              <a:t> die </a:t>
            </a:r>
            <a:r>
              <a:rPr lang="en-US" sz="1200" dirty="0" err="1" smtClean="0"/>
              <a:t>Stimmung</a:t>
            </a:r>
            <a:r>
              <a:rPr lang="en-US" sz="1200" dirty="0" smtClean="0"/>
              <a:t> auf </a:t>
            </a:r>
            <a:r>
              <a:rPr lang="en-US" sz="1200" dirty="0" err="1" smtClean="0"/>
              <a:t>einen</a:t>
            </a:r>
            <a:r>
              <a:rPr lang="en-US" sz="1200" dirty="0" smtClean="0"/>
              <a:t> </a:t>
            </a:r>
            <a:r>
              <a:rPr lang="en-US" sz="1200" dirty="0" err="1" smtClean="0"/>
              <a:t>stimulierenden</a:t>
            </a:r>
            <a:r>
              <a:rPr lang="en-US" sz="1200" dirty="0" smtClean="0"/>
              <a:t> </a:t>
            </a:r>
            <a:r>
              <a:rPr lang="en-US" sz="1200" dirty="0" err="1" smtClean="0"/>
              <a:t>Siedepunkt</a:t>
            </a:r>
            <a:r>
              <a:rPr lang="de-DE" sz="1200" dirty="0" smtClean="0">
                <a:solidFill>
                  <a:srgbClr val="000000"/>
                </a:solidFill>
                <a:ea typeface="Arial Unicode MS" charset="0"/>
                <a:cs typeface="Arial Unicode MS" charset="0"/>
              </a:rPr>
              <a:t> </a:t>
            </a:r>
            <a:endParaRPr lang="de-DE" sz="1200" dirty="0">
              <a:solidFill>
                <a:srgbClr val="000000"/>
              </a:solidFill>
              <a:ea typeface="Arial Unicode MS" charset="0"/>
              <a:cs typeface="Arial Unicode MS" charset="0"/>
            </a:endParaRPr>
          </a:p>
        </p:txBody>
      </p:sp>
      <p:sp>
        <p:nvSpPr>
          <p:cNvPr id="13322" name="Rectangle 10"/>
          <p:cNvSpPr>
            <a:spLocks noChangeArrowheads="1"/>
          </p:cNvSpPr>
          <p:nvPr/>
        </p:nvSpPr>
        <p:spPr bwMode="auto">
          <a:xfrm>
            <a:off x="323850" y="1420813"/>
            <a:ext cx="3346450" cy="1150937"/>
          </a:xfrm>
          <a:prstGeom prst="rect">
            <a:avLst/>
          </a:prstGeom>
          <a:solidFill>
            <a:srgbClr val="FFFFFF"/>
          </a:solidFill>
          <a:ln w="9360">
            <a:noFill/>
            <a:round/>
            <a:headEnd/>
            <a:tailEnd/>
          </a:ln>
          <a:effectLst/>
        </p:spPr>
        <p:txBody>
          <a:bodyPr lIns="0" tIns="82800" rIns="0" bIns="0">
            <a:prstTxWarp prst="textNoShape">
              <a:avLst/>
            </a:prstTxWarp>
          </a:bodyPr>
          <a:lstStyle/>
          <a:p>
            <a:pPr hangingPunct="1">
              <a:lnSpc>
                <a:spcPct val="100000"/>
              </a:lnSpc>
              <a:spcBef>
                <a:spcPts val="300"/>
              </a:spcBef>
              <a:tabLst>
                <a:tab pos="723900" algn="l"/>
                <a:tab pos="1447800" algn="l"/>
                <a:tab pos="2171700" algn="l"/>
                <a:tab pos="2895600" algn="l"/>
              </a:tabLst>
            </a:pPr>
            <a:r>
              <a:rPr lang="de-DE" sz="1200" dirty="0">
                <a:solidFill>
                  <a:srgbClr val="000000"/>
                </a:solidFill>
                <a:ea typeface="Arial Unicode MS" charset="0"/>
                <a:cs typeface="Arial Unicode MS" charset="0"/>
              </a:rPr>
              <a:t>Diese beiden Tracks beschreiben die Einsamkeit eines jungen Mannes in einer kleinen Stadt (</a:t>
            </a:r>
            <a:r>
              <a:rPr lang="de-DE" sz="1200" b="1" dirty="0">
                <a:solidFill>
                  <a:srgbClr val="000000"/>
                </a:solidFill>
                <a:ea typeface="Arial Unicode MS" charset="0"/>
                <a:cs typeface="Arial Unicode MS" charset="0"/>
              </a:rPr>
              <a:t>Rasmus hat kein Internet</a:t>
            </a:r>
            <a:r>
              <a:rPr lang="de-DE" sz="1200" dirty="0">
                <a:solidFill>
                  <a:srgbClr val="000000"/>
                </a:solidFill>
                <a:ea typeface="Arial Unicode MS" charset="0"/>
                <a:cs typeface="Arial Unicode MS" charset="0"/>
              </a:rPr>
              <a:t>),</a:t>
            </a:r>
            <a:r>
              <a:rPr lang="de-DE" sz="1200" dirty="0" smtClean="0">
                <a:solidFill>
                  <a:srgbClr val="000000"/>
                </a:solidFill>
                <a:ea typeface="Arial Unicode MS" charset="0"/>
                <a:cs typeface="Arial Unicode MS" charset="0"/>
              </a:rPr>
              <a:t> bzw. </a:t>
            </a:r>
            <a:r>
              <a:rPr lang="de-DE" sz="1200" dirty="0">
                <a:solidFill>
                  <a:srgbClr val="000000"/>
                </a:solidFill>
                <a:ea typeface="Arial Unicode MS" charset="0"/>
                <a:cs typeface="Arial Unicode MS" charset="0"/>
              </a:rPr>
              <a:t>die von Windrädern dominierte Landschaft Süddithmarschens</a:t>
            </a:r>
          </a:p>
        </p:txBody>
      </p:sp>
      <p:sp>
        <p:nvSpPr>
          <p:cNvPr id="13323" name="Rectangle 11"/>
          <p:cNvSpPr>
            <a:spLocks noChangeArrowheads="1"/>
          </p:cNvSpPr>
          <p:nvPr/>
        </p:nvSpPr>
        <p:spPr bwMode="auto">
          <a:xfrm>
            <a:off x="285750" y="3546475"/>
            <a:ext cx="4514850" cy="1150938"/>
          </a:xfrm>
          <a:prstGeom prst="rect">
            <a:avLst/>
          </a:prstGeom>
          <a:noFill/>
          <a:ln w="9360">
            <a:noFill/>
            <a:round/>
            <a:headEnd/>
            <a:tailEnd/>
          </a:ln>
          <a:effectLst/>
        </p:spPr>
        <p:txBody>
          <a:bodyPr lIns="0" tIns="82800" rIns="0" bIns="0">
            <a:prstTxWarp prst="textNoShape">
              <a:avLst/>
            </a:prstTxWarp>
          </a:bodyPr>
          <a:lstStyle/>
          <a:p>
            <a:pPr hangingPunct="1">
              <a:lnSpc>
                <a:spcPct val="100000"/>
              </a:lnSpc>
              <a:spcBef>
                <a:spcPts val="300"/>
              </a:spcBef>
              <a:tabLst>
                <a:tab pos="723900" algn="l"/>
                <a:tab pos="1447800" algn="l"/>
                <a:tab pos="2171700" algn="l"/>
                <a:tab pos="2895600" algn="l"/>
                <a:tab pos="3619500" algn="l"/>
                <a:tab pos="4343400" algn="l"/>
              </a:tabLst>
            </a:pPr>
            <a:r>
              <a:rPr lang="de-DE" sz="1200" dirty="0">
                <a:solidFill>
                  <a:srgbClr val="000000"/>
                </a:solidFill>
                <a:ea typeface="Arial Unicode MS" charset="0"/>
                <a:cs typeface="Arial Unicode MS" charset="0"/>
              </a:rPr>
              <a:t>Die beiden programmatischen Herzstücke des Albums </a:t>
            </a:r>
            <a:r>
              <a:rPr lang="de-DE" sz="1200" b="1" dirty="0">
                <a:solidFill>
                  <a:srgbClr val="000000"/>
                </a:solidFill>
                <a:ea typeface="Arial Unicode MS" charset="0"/>
                <a:cs typeface="Arial Unicode MS" charset="0"/>
              </a:rPr>
              <a:t>Supermodern Lovesong</a:t>
            </a:r>
            <a:r>
              <a:rPr lang="de-DE" sz="1200" dirty="0">
                <a:solidFill>
                  <a:srgbClr val="000000"/>
                </a:solidFill>
                <a:ea typeface="Arial Unicode MS" charset="0"/>
                <a:cs typeface="Arial Unicode MS" charset="0"/>
              </a:rPr>
              <a:t>– ein Liebeslied an die Zukunft - und </a:t>
            </a:r>
            <a:r>
              <a:rPr lang="de-DE" sz="1200" b="1" dirty="0">
                <a:solidFill>
                  <a:srgbClr val="000000"/>
                </a:solidFill>
                <a:ea typeface="Arial Unicode MS" charset="0"/>
                <a:cs typeface="Arial Unicode MS" charset="0"/>
              </a:rPr>
              <a:t>Information, Temperatur, Mobilität</a:t>
            </a:r>
            <a:r>
              <a:rPr lang="de-DE" sz="1200" dirty="0">
                <a:solidFill>
                  <a:srgbClr val="000000"/>
                </a:solidFill>
                <a:ea typeface="Arial Unicode MS" charset="0"/>
                <a:cs typeface="Arial Unicode MS" charset="0"/>
              </a:rPr>
              <a:t> - ein Loblied auf nachhaltige Technologien als Teil größerer gesellschaftlicher Veränderung, denn - wie es im Text heißt: „Nachhaltigkeit verlangt nach Umverteilung.“</a:t>
            </a:r>
          </a:p>
        </p:txBody>
      </p:sp>
      <p:sp>
        <p:nvSpPr>
          <p:cNvPr id="13324" name="Rectangle 12"/>
          <p:cNvSpPr>
            <a:spLocks noChangeArrowheads="1"/>
          </p:cNvSpPr>
          <p:nvPr/>
        </p:nvSpPr>
        <p:spPr bwMode="auto">
          <a:xfrm>
            <a:off x="3708400" y="1438275"/>
            <a:ext cx="323850" cy="323850"/>
          </a:xfrm>
          <a:prstGeom prst="rect">
            <a:avLst/>
          </a:prstGeom>
          <a:noFill/>
          <a:ln w="9525">
            <a:noFill/>
            <a:round/>
            <a:headEnd/>
            <a:tailEnd/>
          </a:ln>
          <a:effectLst/>
        </p:spPr>
        <p:txBody>
          <a:bodyPr wrap="none" anchor="ctr">
            <a:prstTxWarp prst="textNoShape">
              <a:avLst/>
            </a:prstTxWarp>
          </a:bodyPr>
          <a:lstStyle/>
          <a:p>
            <a:endParaRPr lang="de-CH"/>
          </a:p>
        </p:txBody>
      </p:sp>
      <p:sp>
        <p:nvSpPr>
          <p:cNvPr id="13325" name="Rectangle 13"/>
          <p:cNvSpPr>
            <a:spLocks noChangeArrowheads="1"/>
          </p:cNvSpPr>
          <p:nvPr/>
        </p:nvSpPr>
        <p:spPr bwMode="auto">
          <a:xfrm>
            <a:off x="3683000" y="3530600"/>
            <a:ext cx="323850" cy="323850"/>
          </a:xfrm>
          <a:prstGeom prst="rect">
            <a:avLst/>
          </a:prstGeom>
          <a:noFill/>
          <a:ln w="9525">
            <a:noFill/>
            <a:round/>
            <a:headEnd/>
            <a:tailEnd/>
          </a:ln>
          <a:effectLst/>
        </p:spPr>
        <p:txBody>
          <a:bodyPr wrap="none" anchor="ctr">
            <a:prstTxWarp prst="textNoShape">
              <a:avLst/>
            </a:prstTxWarp>
          </a:bodyPr>
          <a:lstStyle/>
          <a:p>
            <a:endParaRPr lang="de-CH"/>
          </a:p>
        </p:txBody>
      </p:sp>
      <p:sp>
        <p:nvSpPr>
          <p:cNvPr id="13326" name="Text Box 14"/>
          <p:cNvSpPr txBox="1">
            <a:spLocks noChangeArrowheads="1"/>
          </p:cNvSpPr>
          <p:nvPr/>
        </p:nvSpPr>
        <p:spPr bwMode="auto">
          <a:xfrm>
            <a:off x="323850" y="195263"/>
            <a:ext cx="6408738" cy="576262"/>
          </a:xfrm>
          <a:prstGeom prst="rect">
            <a:avLst/>
          </a:prstGeom>
          <a:noFill/>
          <a:ln w="9525">
            <a:noFill/>
            <a:round/>
            <a:headEnd/>
            <a:tailEnd/>
          </a:ln>
          <a:effectLst/>
        </p:spPr>
        <p:txBody>
          <a:bodyPr lIns="90000" tIns="45000" rIns="90000" bIns="45000">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en-US">
                <a:solidFill>
                  <a:srgbClr val="000000"/>
                </a:solidFill>
                <a:ea typeface="Arial Unicode MS" charset="0"/>
                <a:cs typeface="Arial Unicode MS" charset="0"/>
              </a:rPr>
              <a:t>Songbeispiele</a:t>
            </a:r>
          </a:p>
        </p:txBody>
      </p:sp>
      <p:sp>
        <p:nvSpPr>
          <p:cNvPr id="13327" name="Rectangle 15"/>
          <p:cNvSpPr>
            <a:spLocks noChangeArrowheads="1"/>
          </p:cNvSpPr>
          <p:nvPr/>
        </p:nvSpPr>
        <p:spPr bwMode="auto">
          <a:xfrm>
            <a:off x="6959600" y="911225"/>
            <a:ext cx="2046288" cy="365125"/>
          </a:xfrm>
          <a:prstGeom prst="rect">
            <a:avLst/>
          </a:prstGeom>
          <a:noFill/>
          <a:ln w="9525">
            <a:noFill/>
            <a:round/>
            <a:headEnd/>
            <a:tailEnd/>
          </a:ln>
          <a:effectLst/>
        </p:spPr>
        <p:txBody>
          <a:bodyPr wrap="none" lIns="90000" tIns="45000" rIns="90000" bIns="45000">
            <a:prstTxWarp prst="textNoShape">
              <a:avLst/>
            </a:prstTxWarp>
            <a:spAutoFit/>
          </a:bodyPr>
          <a:lstStyle/>
          <a:p>
            <a:pPr hangingPunct="1">
              <a:lnSpc>
                <a:spcPct val="100000"/>
              </a:lnSpc>
              <a:tabLst>
                <a:tab pos="723900" algn="l"/>
                <a:tab pos="1447800" algn="l"/>
              </a:tabLst>
            </a:pPr>
            <a:r>
              <a:rPr lang="de-DE" b="1" dirty="0">
                <a:solidFill>
                  <a:srgbClr val="264283"/>
                </a:solidFill>
                <a:ea typeface="Arial Unicode MS" charset="0"/>
                <a:cs typeface="Arial Unicode MS" charset="0"/>
              </a:rPr>
              <a:t>Wir nüchtern aus</a:t>
            </a:r>
          </a:p>
        </p:txBody>
      </p:sp>
      <p:sp>
        <p:nvSpPr>
          <p:cNvPr id="13328" name="Rectangle 16"/>
          <p:cNvSpPr>
            <a:spLocks noChangeArrowheads="1"/>
          </p:cNvSpPr>
          <p:nvPr/>
        </p:nvSpPr>
        <p:spPr bwMode="auto">
          <a:xfrm>
            <a:off x="6410325" y="2843213"/>
            <a:ext cx="2581275" cy="639762"/>
          </a:xfrm>
          <a:prstGeom prst="rect">
            <a:avLst/>
          </a:prstGeom>
          <a:noFill/>
          <a:ln w="9525">
            <a:noFill/>
            <a:round/>
            <a:headEnd/>
            <a:tailEnd/>
          </a:ln>
          <a:effectLst/>
        </p:spPr>
        <p:txBody>
          <a:bodyPr wrap="none" lIns="90000" tIns="45000" rIns="90000" bIns="45000">
            <a:prstTxWarp prst="textNoShape">
              <a:avLst/>
            </a:prstTxWarp>
            <a:spAutoFit/>
          </a:bodyPr>
          <a:lstStyle/>
          <a:p>
            <a:pPr algn="r" hangingPunct="1">
              <a:lnSpc>
                <a:spcPct val="100000"/>
              </a:lnSpc>
              <a:tabLst>
                <a:tab pos="723900" algn="l"/>
                <a:tab pos="1447800" algn="l"/>
                <a:tab pos="2171700" algn="l"/>
              </a:tabLst>
            </a:pPr>
            <a:r>
              <a:rPr lang="de-DE" b="1">
                <a:solidFill>
                  <a:srgbClr val="007DC3"/>
                </a:solidFill>
                <a:ea typeface="Arial Unicode MS" charset="0"/>
                <a:cs typeface="Arial Unicode MS" charset="0"/>
              </a:rPr>
              <a:t>Tesserakt / </a:t>
            </a:r>
            <a:br>
              <a:rPr lang="de-DE" b="1">
                <a:solidFill>
                  <a:srgbClr val="007DC3"/>
                </a:solidFill>
                <a:ea typeface="Arial Unicode MS" charset="0"/>
                <a:cs typeface="Arial Unicode MS" charset="0"/>
              </a:rPr>
            </a:br>
            <a:r>
              <a:rPr lang="de-DE" b="1">
                <a:solidFill>
                  <a:srgbClr val="007DC3"/>
                </a:solidFill>
                <a:ea typeface="Arial Unicode MS" charset="0"/>
                <a:cs typeface="Arial Unicode MS" charset="0"/>
              </a:rPr>
              <a:t>LED – Licht der Liebe </a:t>
            </a:r>
          </a:p>
        </p:txBody>
      </p:sp>
      <p:sp>
        <p:nvSpPr>
          <p:cNvPr id="13329" name="Rectangle 17"/>
          <p:cNvSpPr>
            <a:spLocks noChangeArrowheads="1"/>
          </p:cNvSpPr>
          <p:nvPr/>
        </p:nvSpPr>
        <p:spPr bwMode="auto">
          <a:xfrm>
            <a:off x="244475" y="2909888"/>
            <a:ext cx="3448050" cy="577850"/>
          </a:xfrm>
          <a:prstGeom prst="rect">
            <a:avLst/>
          </a:prstGeom>
          <a:noFill/>
          <a:ln w="9525">
            <a:noFill/>
            <a:round/>
            <a:headEnd/>
            <a:tailEnd/>
          </a:ln>
          <a:effectLst/>
        </p:spPr>
        <p:txBody>
          <a:bodyPr wrap="none" lIns="90000" tIns="45000" rIns="90000" bIns="45000">
            <a:prstTxWarp prst="textNoShape">
              <a:avLst/>
            </a:prstTxWarp>
            <a:spAutoFit/>
          </a:bodyPr>
          <a:lstStyle/>
          <a:p>
            <a:pPr hangingPunct="1">
              <a:lnSpc>
                <a:spcPct val="100000"/>
              </a:lnSpc>
              <a:tabLst>
                <a:tab pos="723900" algn="l"/>
                <a:tab pos="1447800" algn="l"/>
                <a:tab pos="2171700" algn="l"/>
                <a:tab pos="2895600" algn="l"/>
              </a:tabLst>
            </a:pPr>
            <a:r>
              <a:rPr lang="de-DE" sz="1600" b="1">
                <a:solidFill>
                  <a:srgbClr val="A2AD00"/>
                </a:solidFill>
                <a:ea typeface="Arial Unicode MS" charset="0"/>
                <a:cs typeface="Arial Unicode MS" charset="0"/>
              </a:rPr>
              <a:t>Supermodern Lovesong/</a:t>
            </a:r>
          </a:p>
          <a:p>
            <a:pPr hangingPunct="1">
              <a:lnSpc>
                <a:spcPct val="100000"/>
              </a:lnSpc>
              <a:tabLst>
                <a:tab pos="723900" algn="l"/>
                <a:tab pos="1447800" algn="l"/>
                <a:tab pos="2171700" algn="l"/>
                <a:tab pos="2895600" algn="l"/>
              </a:tabLst>
            </a:pPr>
            <a:r>
              <a:rPr lang="de-DE" sz="1600" b="1">
                <a:solidFill>
                  <a:srgbClr val="A2AD00"/>
                </a:solidFill>
                <a:ea typeface="Arial Unicode MS" charset="0"/>
                <a:cs typeface="Arial Unicode MS" charset="0"/>
              </a:rPr>
              <a:t>Information, Temperatur, Mobilität</a:t>
            </a:r>
          </a:p>
        </p:txBody>
      </p:sp>
      <p:sp>
        <p:nvSpPr>
          <p:cNvPr id="13330" name="Rectangle 18"/>
          <p:cNvSpPr>
            <a:spLocks noChangeArrowheads="1"/>
          </p:cNvSpPr>
          <p:nvPr/>
        </p:nvSpPr>
        <p:spPr bwMode="auto">
          <a:xfrm>
            <a:off x="241300" y="895350"/>
            <a:ext cx="2651125" cy="820738"/>
          </a:xfrm>
          <a:prstGeom prst="rect">
            <a:avLst/>
          </a:prstGeom>
          <a:noFill/>
          <a:ln w="9525">
            <a:noFill/>
            <a:round/>
            <a:headEnd/>
            <a:tailEnd/>
          </a:ln>
          <a:effectLst/>
        </p:spPr>
        <p:txBody>
          <a:bodyPr wrap="none" lIns="90000" tIns="45000" rIns="90000" bIns="45000">
            <a:prstTxWarp prst="textNoShape">
              <a:avLst/>
            </a:prstTxWarp>
            <a:spAutoFit/>
          </a:bodyPr>
          <a:lstStyle/>
          <a:p>
            <a:pPr hangingPunct="1">
              <a:lnSpc>
                <a:spcPct val="100000"/>
              </a:lnSpc>
              <a:tabLst>
                <a:tab pos="723900" algn="l"/>
                <a:tab pos="1447800" algn="l"/>
                <a:tab pos="2171700" algn="l"/>
              </a:tabLst>
            </a:pPr>
            <a:r>
              <a:rPr lang="de-DE" sz="1600" b="1" dirty="0">
                <a:solidFill>
                  <a:srgbClr val="C1BB00"/>
                </a:solidFill>
                <a:ea typeface="Arial Unicode MS" charset="0"/>
                <a:cs typeface="Arial Unicode MS" charset="0"/>
              </a:rPr>
              <a:t>Am Kanal/</a:t>
            </a:r>
            <a:br>
              <a:rPr lang="de-DE" sz="1600" b="1" dirty="0">
                <a:solidFill>
                  <a:srgbClr val="C1BB00"/>
                </a:solidFill>
                <a:ea typeface="Arial Unicode MS" charset="0"/>
                <a:cs typeface="Arial Unicode MS" charset="0"/>
              </a:rPr>
            </a:br>
            <a:r>
              <a:rPr lang="de-DE" sz="1600" b="1" dirty="0">
                <a:solidFill>
                  <a:srgbClr val="C1BB00"/>
                </a:solidFill>
                <a:ea typeface="Arial Unicode MS" charset="0"/>
                <a:cs typeface="Arial Unicode MS" charset="0"/>
              </a:rPr>
              <a:t>Rasmus hat kein Internet </a:t>
            </a:r>
            <a:br>
              <a:rPr lang="de-DE" sz="1600" b="1" dirty="0">
                <a:solidFill>
                  <a:srgbClr val="C1BB00"/>
                </a:solidFill>
                <a:ea typeface="Arial Unicode MS" charset="0"/>
                <a:cs typeface="Arial Unicode MS" charset="0"/>
              </a:rPr>
            </a:br>
            <a:endParaRPr lang="de-DE" sz="1600" b="1" dirty="0">
              <a:solidFill>
                <a:srgbClr val="C1BB00"/>
              </a:solidFill>
              <a:ea typeface="Arial Unicode MS" charset="0"/>
              <a:cs typeface="Arial Unicode MS" charset="0"/>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fill="hold" grpId="0" nodeType="clickEffect" nodePh="1">
                                  <p:stCondLst>
                                    <p:cond delay="0"/>
                                  </p:stCondLst>
                                  <p:endCondLst>
                                    <p:cond delay="0"/>
                                    <p:cond evt="begin" delay="0">
                                      <p:tn val="5"/>
                                    </p:cond>
                                  </p:endCondLst>
                                  <p:childTnLst>
                                    <p:set>
                                      <p:cBhvr additive="repl">
                                        <p:cTn id="6" dur="1" fill="hold">
                                          <p:stCondLst>
                                            <p:cond delay="0"/>
                                          </p:stCondLst>
                                        </p:cTn>
                                        <p:tgtEl>
                                          <p:spTgt spid="13324"/>
                                        </p:tgtEl>
                                        <p:attrNameLst>
                                          <p:attrName>style.visibility</p:attrName>
                                        </p:attrNameLst>
                                      </p:cBhvr>
                                      <p:to>
                                        <p:strVal val="visible"/>
                                      </p:to>
                                    </p:set>
                                    <p:animEffect transition="in" filter="fade">
                                      <p:cBhvr additive="repl">
                                        <p:cTn id="7" dur="500"/>
                                        <p:tgtEl>
                                          <p:spTgt spid="13324"/>
                                        </p:tgtEl>
                                      </p:cBhvr>
                                    </p:animEffect>
                                  </p:childTnLst>
                                </p:cTn>
                              </p:par>
                              <p:par>
                                <p:cTn id="8" presetID="10" presetClass="entr" fill="hold" nodeType="withEffect">
                                  <p:stCondLst>
                                    <p:cond delay="0"/>
                                  </p:stCondLst>
                                  <p:childTnLst>
                                    <p:set>
                                      <p:cBhvr additive="repl">
                                        <p:cTn id="9" dur="1" fill="hold">
                                          <p:stCondLst>
                                            <p:cond delay="0"/>
                                          </p:stCondLst>
                                        </p:cTn>
                                        <p:tgtEl>
                                          <p:spTgt spid="13330"/>
                                        </p:tgtEl>
                                        <p:attrNameLst>
                                          <p:attrName>style.visibility</p:attrName>
                                        </p:attrNameLst>
                                      </p:cBhvr>
                                      <p:to>
                                        <p:strVal val="visible"/>
                                      </p:to>
                                    </p:set>
                                    <p:animEffect transition="in" filter="fade">
                                      <p:cBhvr additive="repl">
                                        <p:cTn id="10" dur="500"/>
                                        <p:tgtEl>
                                          <p:spTgt spid="13330"/>
                                        </p:tgtEl>
                                      </p:cBhvr>
                                    </p:animEffect>
                                  </p:childTnLst>
                                </p:cTn>
                              </p:par>
                              <p:par>
                                <p:cTn id="11" presetID="10" presetClass="entr" fill="hold" nodeType="withEffect">
                                  <p:stCondLst>
                                    <p:cond delay="0"/>
                                  </p:stCondLst>
                                  <p:childTnLst>
                                    <p:set>
                                      <p:cBhvr additive="repl">
                                        <p:cTn id="12" dur="1" fill="hold">
                                          <p:stCondLst>
                                            <p:cond delay="0"/>
                                          </p:stCondLst>
                                        </p:cTn>
                                        <p:tgtEl>
                                          <p:spTgt spid="13322"/>
                                        </p:tgtEl>
                                        <p:attrNameLst>
                                          <p:attrName>style.visibility</p:attrName>
                                        </p:attrNameLst>
                                      </p:cBhvr>
                                      <p:to>
                                        <p:strVal val="visible"/>
                                      </p:to>
                                    </p:set>
                                    <p:animEffect transition="in" filter="fade">
                                      <p:cBhvr additive="repl">
                                        <p:cTn id="13" dur="500"/>
                                        <p:tgtEl>
                                          <p:spTgt spid="1332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fill="hold" nodeType="clickEffect">
                                  <p:stCondLst>
                                    <p:cond delay="0"/>
                                  </p:stCondLst>
                                  <p:childTnLst>
                                    <p:set>
                                      <p:cBhvr additive="repl">
                                        <p:cTn id="17" dur="1" fill="hold">
                                          <p:stCondLst>
                                            <p:cond delay="0"/>
                                          </p:stCondLst>
                                        </p:cTn>
                                        <p:tgtEl>
                                          <p:spTgt spid="13329"/>
                                        </p:tgtEl>
                                        <p:attrNameLst>
                                          <p:attrName>style.visibility</p:attrName>
                                        </p:attrNameLst>
                                      </p:cBhvr>
                                      <p:to>
                                        <p:strVal val="visible"/>
                                      </p:to>
                                    </p:set>
                                    <p:animEffect transition="in" filter="fade">
                                      <p:cBhvr additive="repl">
                                        <p:cTn id="18" dur="500"/>
                                        <p:tgtEl>
                                          <p:spTgt spid="13329"/>
                                        </p:tgtEl>
                                      </p:cBhvr>
                                    </p:animEffect>
                                  </p:childTnLst>
                                </p:cTn>
                              </p:par>
                              <p:par>
                                <p:cTn id="19" presetID="10" presetClass="entr" fill="hold" nodeType="withEffect">
                                  <p:stCondLst>
                                    <p:cond delay="0"/>
                                  </p:stCondLst>
                                  <p:childTnLst>
                                    <p:set>
                                      <p:cBhvr additive="repl">
                                        <p:cTn id="20" dur="1" fill="hold">
                                          <p:stCondLst>
                                            <p:cond delay="0"/>
                                          </p:stCondLst>
                                        </p:cTn>
                                        <p:tgtEl>
                                          <p:spTgt spid="13323"/>
                                        </p:tgtEl>
                                        <p:attrNameLst>
                                          <p:attrName>style.visibility</p:attrName>
                                        </p:attrNameLst>
                                      </p:cBhvr>
                                      <p:to>
                                        <p:strVal val="visible"/>
                                      </p:to>
                                    </p:set>
                                    <p:animEffect transition="in" filter="fade">
                                      <p:cBhvr additive="repl">
                                        <p:cTn id="21" dur="500"/>
                                        <p:tgtEl>
                                          <p:spTgt spid="1332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fill="hold" nodeType="clickEffect">
                                  <p:stCondLst>
                                    <p:cond delay="0"/>
                                  </p:stCondLst>
                                  <p:childTnLst>
                                    <p:set>
                                      <p:cBhvr additive="repl">
                                        <p:cTn id="25" dur="1" fill="hold">
                                          <p:stCondLst>
                                            <p:cond delay="0"/>
                                          </p:stCondLst>
                                        </p:cTn>
                                        <p:tgtEl>
                                          <p:spTgt spid="13327"/>
                                        </p:tgtEl>
                                        <p:attrNameLst>
                                          <p:attrName>style.visibility</p:attrName>
                                        </p:attrNameLst>
                                      </p:cBhvr>
                                      <p:to>
                                        <p:strVal val="visible"/>
                                      </p:to>
                                    </p:set>
                                    <p:animEffect transition="in" filter="fade">
                                      <p:cBhvr additive="repl">
                                        <p:cTn id="26" dur="500"/>
                                        <p:tgtEl>
                                          <p:spTgt spid="13327"/>
                                        </p:tgtEl>
                                      </p:cBhvr>
                                    </p:animEffect>
                                  </p:childTnLst>
                                </p:cTn>
                              </p:par>
                              <p:par>
                                <p:cTn id="27" presetID="10" presetClass="entr" fill="hold" nodeType="withEffect">
                                  <p:stCondLst>
                                    <p:cond delay="0"/>
                                  </p:stCondLst>
                                  <p:childTnLst>
                                    <p:set>
                                      <p:cBhvr additive="repl">
                                        <p:cTn id="28" dur="1" fill="hold">
                                          <p:stCondLst>
                                            <p:cond delay="0"/>
                                          </p:stCondLst>
                                        </p:cTn>
                                        <p:tgtEl>
                                          <p:spTgt spid="13321"/>
                                        </p:tgtEl>
                                        <p:attrNameLst>
                                          <p:attrName>style.visibility</p:attrName>
                                        </p:attrNameLst>
                                      </p:cBhvr>
                                      <p:to>
                                        <p:strVal val="visible"/>
                                      </p:to>
                                    </p:set>
                                    <p:animEffect transition="in" filter="fade">
                                      <p:cBhvr additive="repl">
                                        <p:cTn id="29" dur="500"/>
                                        <p:tgtEl>
                                          <p:spTgt spid="1332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fill="hold" nodeType="clickEffect">
                                  <p:stCondLst>
                                    <p:cond delay="0"/>
                                  </p:stCondLst>
                                  <p:childTnLst>
                                    <p:set>
                                      <p:cBhvr additive="repl">
                                        <p:cTn id="33" dur="1" fill="hold">
                                          <p:stCondLst>
                                            <p:cond delay="0"/>
                                          </p:stCondLst>
                                        </p:cTn>
                                        <p:tgtEl>
                                          <p:spTgt spid="13328"/>
                                        </p:tgtEl>
                                        <p:attrNameLst>
                                          <p:attrName>style.visibility</p:attrName>
                                        </p:attrNameLst>
                                      </p:cBhvr>
                                      <p:to>
                                        <p:strVal val="visible"/>
                                      </p:to>
                                    </p:set>
                                    <p:animEffect transition="in" filter="fade">
                                      <p:cBhvr additive="repl">
                                        <p:cTn id="34" dur="500"/>
                                        <p:tgtEl>
                                          <p:spTgt spid="13328"/>
                                        </p:tgtEl>
                                      </p:cBhvr>
                                    </p:animEffect>
                                  </p:childTnLst>
                                </p:cTn>
                              </p:par>
                              <p:par>
                                <p:cTn id="35" presetID="10" presetClass="entr" fill="hold" nodeType="withEffect">
                                  <p:stCondLst>
                                    <p:cond delay="0"/>
                                  </p:stCondLst>
                                  <p:childTnLst>
                                    <p:set>
                                      <p:cBhvr additive="repl">
                                        <p:cTn id="36" dur="1" fill="hold">
                                          <p:stCondLst>
                                            <p:cond delay="0"/>
                                          </p:stCondLst>
                                        </p:cTn>
                                        <p:tgtEl>
                                          <p:spTgt spid="13320"/>
                                        </p:tgtEl>
                                        <p:attrNameLst>
                                          <p:attrName>style.visibility</p:attrName>
                                        </p:attrNameLst>
                                      </p:cBhvr>
                                      <p:to>
                                        <p:strVal val="visible"/>
                                      </p:to>
                                    </p:set>
                                    <p:animEffect transition="in" filter="fade">
                                      <p:cBhvr additive="repl">
                                        <p:cTn id="37" dur="500"/>
                                        <p:tgtEl>
                                          <p:spTgt spid="13320"/>
                                        </p:tgtEl>
                                      </p:cBhvr>
                                    </p:animEffect>
                                  </p:childTnLst>
                                </p:cTn>
                              </p:par>
                              <p:par>
                                <p:cTn id="38" presetID="10" presetClass="entr" fill="hold" grpId="0" nodeType="withEffect" nodePh="1">
                                  <p:stCondLst>
                                    <p:cond delay="0"/>
                                  </p:stCondLst>
                                  <p:endCondLst>
                                    <p:cond delay="0"/>
                                    <p:cond evt="begin" delay="0">
                                      <p:tn val="38"/>
                                    </p:cond>
                                  </p:endCondLst>
                                  <p:childTnLst>
                                    <p:set>
                                      <p:cBhvr additive="repl">
                                        <p:cTn id="39" dur="1" fill="hold">
                                          <p:stCondLst>
                                            <p:cond delay="0"/>
                                          </p:stCondLst>
                                        </p:cTn>
                                        <p:tgtEl>
                                          <p:spTgt spid="13325"/>
                                        </p:tgtEl>
                                        <p:attrNameLst>
                                          <p:attrName>style.visibility</p:attrName>
                                        </p:attrNameLst>
                                      </p:cBhvr>
                                      <p:to>
                                        <p:strVal val="visible"/>
                                      </p:to>
                                    </p:set>
                                    <p:animEffect transition="in" filter="fade">
                                      <p:cBhvr additive="repl">
                                        <p:cTn id="40" dur="500"/>
                                        <p:tgtEl>
                                          <p:spTgt spid="133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4" grpId="0" animBg="1"/>
      <p:bldP spid="13325" grpId="0" animBg="1"/>
    </p:bld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BODYINDENTATION" val="0;0;0;0;0;14.25;14.09646;28.34646;28.25;42.5;28.25;42.5;28.25;42.5;28.25;42.5;28.25;42.5;"/>
  <p:tag name="VCT-BULLETVISIBILITY" val="G  *******"/>
  <p:tag name="VCTCREATESHAPEHANDLED" val="0"/>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QdUapzF110y7phHRKJ1XAQ"/>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QdUapzF110y7phHRKJ1XAQ"/>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98</TotalTime>
  <Words>877</Words>
  <PresentationFormat>On-screen Show (16:9)</PresentationFormat>
  <Paragraphs>78</Paragraphs>
  <Slides>11</Slides>
  <Notes>7</Notes>
  <HiddenSlides>0</HiddenSlides>
  <MMClips>0</MMClips>
  <ScaleCrop>false</ScaleCrop>
  <HeadingPairs>
    <vt:vector size="6" baseType="variant">
      <vt:variant>
        <vt:lpstr>Design Template</vt:lpstr>
      </vt:variant>
      <vt:variant>
        <vt:i4>4</vt:i4>
      </vt:variant>
      <vt:variant>
        <vt:lpstr>Embedded OLE Servers</vt:lpstr>
      </vt:variant>
      <vt:variant>
        <vt:i4>0</vt:i4>
      </vt:variant>
      <vt:variant>
        <vt:lpstr>Slide Titles</vt:lpstr>
      </vt:variant>
      <vt:variant>
        <vt:i4>11</vt:i4>
      </vt:variant>
    </vt:vector>
  </HeadingPairs>
  <TitlesOfParts>
    <vt:vector size="15" baseType="lpstr">
      <vt:lpstr>Office Theme</vt:lpstr>
      <vt:lpstr>Office Theme</vt:lpstr>
      <vt:lpstr>Office Theme</vt:lpstr>
      <vt:lpstr>Office Theme</vt:lpstr>
      <vt:lpstr>Slide 1</vt:lpstr>
      <vt:lpstr>Slide 2</vt:lpstr>
      <vt:lpstr>Warum machen wir das? </vt:lpstr>
      <vt:lpstr>Slide 4</vt:lpstr>
      <vt:lpstr>Slide 5</vt:lpstr>
      <vt:lpstr>Slide 6</vt:lpstr>
      <vt:lpstr>Slide 7</vt:lpstr>
      <vt:lpstr>Und wie klingt das?</vt:lpstr>
      <vt:lpstr>Slide 9</vt:lpstr>
      <vt:lpstr>Slide 10</vt:lpstr>
      <vt:lpstr>Slide 1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cp:lastModifiedBy>Bruno Zgraggen</cp:lastModifiedBy>
  <cp:revision>36</cp:revision>
  <cp:lastPrinted>1601-01-01T00:00:00Z</cp:lastPrinted>
  <dcterms:created xsi:type="dcterms:W3CDTF">2017-04-28T09:06:33Z</dcterms:created>
  <dcterms:modified xsi:type="dcterms:W3CDTF">2017-04-28T09:09:05Z</dcterms:modified>
</cp:coreProperties>
</file>